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1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Override2.xml" ContentType="application/vnd.openxmlformats-officedocument.themeOverr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8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9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38" r:id="rId2"/>
    <p:sldMasterId id="2147483758" r:id="rId3"/>
    <p:sldMasterId id="2147483852" r:id="rId4"/>
    <p:sldMasterId id="2147484007" r:id="rId5"/>
    <p:sldMasterId id="2147484201" r:id="rId6"/>
    <p:sldMasterId id="2147484210" r:id="rId7"/>
    <p:sldMasterId id="2147484300" r:id="rId8"/>
    <p:sldMasterId id="2147484313" r:id="rId9"/>
    <p:sldMasterId id="2147484326" r:id="rId10"/>
  </p:sldMasterIdLst>
  <p:notesMasterIdLst>
    <p:notesMasterId r:id="rId19"/>
  </p:notesMasterIdLst>
  <p:handoutMasterIdLst>
    <p:handoutMasterId r:id="rId20"/>
  </p:handoutMasterIdLst>
  <p:sldIdLst>
    <p:sldId id="584" r:id="rId11"/>
    <p:sldId id="693" r:id="rId12"/>
    <p:sldId id="691" r:id="rId13"/>
    <p:sldId id="686" r:id="rId14"/>
    <p:sldId id="687" r:id="rId15"/>
    <p:sldId id="689" r:id="rId16"/>
    <p:sldId id="690" r:id="rId17"/>
    <p:sldId id="694" r:id="rId18"/>
  </p:sldIdLst>
  <p:sldSz cx="9144000" cy="6858000" type="screen4x3"/>
  <p:notesSz cx="6742113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EB8981"/>
    <a:srgbClr val="F3F830"/>
    <a:srgbClr val="E1EE3A"/>
    <a:srgbClr val="FFCC66"/>
    <a:srgbClr val="D2FB3B"/>
    <a:srgbClr val="FF3B3B"/>
    <a:srgbClr val="88A9D2"/>
    <a:srgbClr val="E8CE0E"/>
    <a:srgbClr val="D1BA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9983" autoAdjust="0"/>
    <p:restoredTop sz="99657" autoAdjust="0"/>
  </p:normalViewPr>
  <p:slideViewPr>
    <p:cSldViewPr>
      <p:cViewPr>
        <p:scale>
          <a:sx n="80" d="100"/>
          <a:sy n="80" d="100"/>
        </p:scale>
        <p:origin x="-2502" y="-8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44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" y="5"/>
            <a:ext cx="2921582" cy="493633"/>
          </a:xfrm>
          <a:prstGeom prst="rect">
            <a:avLst/>
          </a:prstGeom>
        </p:spPr>
        <p:txBody>
          <a:bodyPr vert="horz" lIns="91074" tIns="45540" rIns="91074" bIns="4554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8977" y="5"/>
            <a:ext cx="2921582" cy="493633"/>
          </a:xfrm>
          <a:prstGeom prst="rect">
            <a:avLst/>
          </a:prstGeom>
        </p:spPr>
        <p:txBody>
          <a:bodyPr vert="horz" lIns="91074" tIns="45540" rIns="91074" bIns="45540" rtlCol="0"/>
          <a:lstStyle>
            <a:lvl1pPr algn="r">
              <a:defRPr sz="1200"/>
            </a:lvl1pPr>
          </a:lstStyle>
          <a:p>
            <a:fld id="{3F63657A-863A-4908-8E13-E0D2661D7228}" type="datetimeFigureOut">
              <a:rPr lang="ru-RU" smtClean="0"/>
              <a:t>22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6" y="9377321"/>
            <a:ext cx="2921582" cy="493633"/>
          </a:xfrm>
          <a:prstGeom prst="rect">
            <a:avLst/>
          </a:prstGeom>
        </p:spPr>
        <p:txBody>
          <a:bodyPr vert="horz" lIns="91074" tIns="45540" rIns="91074" bIns="4554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8977" y="9377321"/>
            <a:ext cx="2921582" cy="493633"/>
          </a:xfrm>
          <a:prstGeom prst="rect">
            <a:avLst/>
          </a:prstGeom>
        </p:spPr>
        <p:txBody>
          <a:bodyPr vert="horz" lIns="91074" tIns="45540" rIns="91074" bIns="45540" rtlCol="0" anchor="b"/>
          <a:lstStyle>
            <a:lvl1pPr algn="r">
              <a:defRPr sz="1200"/>
            </a:lvl1pPr>
          </a:lstStyle>
          <a:p>
            <a:fld id="{7F253797-14A6-4196-9B5A-513946C7B9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206438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" y="5"/>
            <a:ext cx="2921582" cy="493633"/>
          </a:xfrm>
          <a:prstGeom prst="rect">
            <a:avLst/>
          </a:prstGeom>
        </p:spPr>
        <p:txBody>
          <a:bodyPr vert="horz" lIns="91074" tIns="45540" rIns="91074" bIns="4554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977" y="5"/>
            <a:ext cx="2921582" cy="493633"/>
          </a:xfrm>
          <a:prstGeom prst="rect">
            <a:avLst/>
          </a:prstGeom>
        </p:spPr>
        <p:txBody>
          <a:bodyPr vert="horz" lIns="91074" tIns="45540" rIns="91074" bIns="45540" rtlCol="0"/>
          <a:lstStyle>
            <a:lvl1pPr algn="r">
              <a:defRPr sz="1200"/>
            </a:lvl1pPr>
          </a:lstStyle>
          <a:p>
            <a:fld id="{FAC267E0-B5E6-4809-B315-D0FBF074C943}" type="datetimeFigureOut">
              <a:rPr lang="ru-RU" smtClean="0"/>
              <a:t>22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5537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74" tIns="45540" rIns="91074" bIns="4554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212" y="4689516"/>
            <a:ext cx="5393690" cy="4442698"/>
          </a:xfrm>
          <a:prstGeom prst="rect">
            <a:avLst/>
          </a:prstGeom>
        </p:spPr>
        <p:txBody>
          <a:bodyPr vert="horz" lIns="91074" tIns="45540" rIns="91074" bIns="4554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6" y="9377321"/>
            <a:ext cx="2921582" cy="493633"/>
          </a:xfrm>
          <a:prstGeom prst="rect">
            <a:avLst/>
          </a:prstGeom>
        </p:spPr>
        <p:txBody>
          <a:bodyPr vert="horz" lIns="91074" tIns="45540" rIns="91074" bIns="4554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977" y="9377321"/>
            <a:ext cx="2921582" cy="493633"/>
          </a:xfrm>
          <a:prstGeom prst="rect">
            <a:avLst/>
          </a:prstGeom>
        </p:spPr>
        <p:txBody>
          <a:bodyPr vert="horz" lIns="91074" tIns="45540" rIns="91074" bIns="45540" rtlCol="0" anchor="b"/>
          <a:lstStyle>
            <a:lvl1pPr algn="r">
              <a:defRPr sz="1200"/>
            </a:lvl1pPr>
          </a:lstStyle>
          <a:p>
            <a:fld id="{3A9F080A-40F9-45CD-BCDA-13E7A78AC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3083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DD5548-937F-44A6-B7F6-963C8F5DFECF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854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DD5548-937F-44A6-B7F6-963C8F5DFECF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854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oleObject" Target="../embeddings/oleObject5.bin"/><Relationship Id="rId2" Type="http://schemas.openxmlformats.org/officeDocument/2006/relationships/vmlDrawing" Target="../drawings/vmlDrawing5.vml"/><Relationship Id="rId16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tags" Target="../tags/tag40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oleObject" Target="../embeddings/oleObject7.bin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7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8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8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oleObject" Target="../embeddings/oleObject9.bin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9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1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image" Target="../media/image2.png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image" Target="../media/image1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8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0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image" Target="../media/image1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1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2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tags" Target="../tags/tag135.xml"/><Relationship Id="rId18" Type="http://schemas.openxmlformats.org/officeDocument/2006/relationships/image" Target="../media/image1.emf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17" Type="http://schemas.openxmlformats.org/officeDocument/2006/relationships/oleObject" Target="../embeddings/oleObject16.bin"/><Relationship Id="rId2" Type="http://schemas.openxmlformats.org/officeDocument/2006/relationships/vmlDrawing" Target="../drawings/vmlDrawing16.vml"/><Relationship Id="rId16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5" Type="http://schemas.openxmlformats.org/officeDocument/2006/relationships/tags" Target="../tags/tag127.xml"/><Relationship Id="rId15" Type="http://schemas.openxmlformats.org/officeDocument/2006/relationships/tags" Target="../tags/tag13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tags" Target="../tags/tag13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image" Target="../media/image1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42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4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5" Type="http://schemas.openxmlformats.org/officeDocument/2006/relationships/tags" Target="../tags/tag149.xml"/><Relationship Id="rId10" Type="http://schemas.openxmlformats.org/officeDocument/2006/relationships/tags" Target="../tags/tag154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0" Type="http://schemas.openxmlformats.org/officeDocument/2006/relationships/tags" Target="../tags/tag164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70.xml"/><Relationship Id="rId11" Type="http://schemas.openxmlformats.org/officeDocument/2006/relationships/tags" Target="../tags/tag175.xml"/><Relationship Id="rId5" Type="http://schemas.openxmlformats.org/officeDocument/2006/relationships/tags" Target="../tags/tag169.xml"/><Relationship Id="rId10" Type="http://schemas.openxmlformats.org/officeDocument/2006/relationships/tags" Target="../tags/tag174.xml"/><Relationship Id="rId4" Type="http://schemas.openxmlformats.org/officeDocument/2006/relationships/tags" Target="../tags/tag168.xml"/><Relationship Id="rId9" Type="http://schemas.openxmlformats.org/officeDocument/2006/relationships/tags" Target="../tags/tag173.xml"/><Relationship Id="rId1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tags" Target="../tags/tag187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tags" Target="../tags/tag186.xml"/><Relationship Id="rId2" Type="http://schemas.openxmlformats.org/officeDocument/2006/relationships/tags" Target="../tags/tag176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1.v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5" Type="http://schemas.openxmlformats.org/officeDocument/2006/relationships/tags" Target="../tags/tag179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184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1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92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19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5" Type="http://schemas.openxmlformats.org/officeDocument/2006/relationships/tags" Target="../tags/tag200.xml"/><Relationship Id="rId4" Type="http://schemas.openxmlformats.org/officeDocument/2006/relationships/tags" Target="../tags/tag199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9935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9998249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260000"/>
            <a:ext cx="8640000" cy="5040312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907799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972000" y="1692000"/>
            <a:ext cx="7200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1332000" y="1260000"/>
            <a:ext cx="6480000" cy="5040312"/>
          </a:xfrm>
        </p:spPr>
        <p:txBody>
          <a:bodyPr/>
          <a:lstStyle>
            <a:lvl1pPr>
              <a:spcBef>
                <a:spcPts val="1800"/>
              </a:spcBef>
              <a:defRPr sz="1600"/>
            </a:lvl1pPr>
            <a:lvl2pPr marL="0" indent="0">
              <a:spcBef>
                <a:spcPts val="1800"/>
              </a:spcBef>
              <a:buNone/>
              <a:defRPr sz="1600" b="1">
                <a:solidFill>
                  <a:schemeClr val="bg1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446876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30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4716477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716463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625887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 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22502919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250838" y="1692512"/>
            <a:ext cx="2881015" cy="4608000"/>
          </a:xfrm>
          <a:ln w="3175" cmpd="sng">
            <a:noFill/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3419875" y="1692512"/>
            <a:ext cx="5473304" cy="4608000"/>
          </a:xfrm>
          <a:ln w="3175" cmpd="sng">
            <a:solidFill>
              <a:schemeClr val="bg2"/>
            </a:solidFill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250827" y="215900"/>
            <a:ext cx="8642350" cy="215900"/>
          </a:xfrm>
        </p:spPr>
        <p:txBody>
          <a:bodyPr vert="horz" lIns="0" tIns="0" rIns="0" bIns="18000" rtlCol="0" anchor="b" anchorCtr="0">
            <a:noAutofit/>
          </a:bodyPr>
          <a:lstStyle>
            <a:lvl1pPr>
              <a:defRPr lang="ru-RU" b="1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Название раздел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3419873" y="1268413"/>
            <a:ext cx="5472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0"/>
          <p:cNvCxnSpPr/>
          <p:nvPr userDrawn="1">
            <p:custDataLst>
              <p:tags r:id="rId10"/>
            </p:custDataLst>
          </p:nvPr>
        </p:nvCxnSpPr>
        <p:spPr>
          <a:xfrm flipH="1">
            <a:off x="251520" y="1692512"/>
            <a:ext cx="160" cy="4608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2" name="Прямая соединительная линия 21"/>
          <p:cNvCxnSpPr/>
          <p:nvPr userDrawn="1">
            <p:custDataLst>
              <p:tags r:id="rId11"/>
            </p:custDataLst>
          </p:nvPr>
        </p:nvCxnSpPr>
        <p:spPr>
          <a:xfrm flipH="1">
            <a:off x="251523" y="6300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3" name="Прямая соединительная линия 22"/>
          <p:cNvCxnSpPr/>
          <p:nvPr userDrawn="1">
            <p:custDataLst>
              <p:tags r:id="rId12"/>
            </p:custDataLst>
          </p:nvPr>
        </p:nvCxnSpPr>
        <p:spPr>
          <a:xfrm flipH="1">
            <a:off x="251680" y="1692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4" name="Прямая соединительная линия 23"/>
          <p:cNvCxnSpPr/>
          <p:nvPr userDrawn="1">
            <p:custDataLst>
              <p:tags r:id="rId13"/>
            </p:custDataLst>
          </p:nvPr>
        </p:nvCxnSpPr>
        <p:spPr>
          <a:xfrm>
            <a:off x="3131842" y="1340366"/>
            <a:ext cx="216160" cy="2471212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5" name="Прямая соединительная линия 24"/>
          <p:cNvCxnSpPr/>
          <p:nvPr userDrawn="1">
            <p:custDataLst>
              <p:tags r:id="rId14"/>
            </p:custDataLst>
          </p:nvPr>
        </p:nvCxnSpPr>
        <p:spPr>
          <a:xfrm flipH="1">
            <a:off x="3131840" y="3787447"/>
            <a:ext cx="216000" cy="2521287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16"/>
          <p:cNvSpPr>
            <a:spLocks noGrp="1"/>
          </p:cNvSpPr>
          <p:nvPr>
            <p:ph type="body" sz="quarter" idx="20" hasCustomPrompt="1"/>
            <p:custDataLst>
              <p:tags r:id="rId15"/>
            </p:custDataLst>
          </p:nvPr>
        </p:nvSpPr>
        <p:spPr>
          <a:xfrm>
            <a:off x="251520" y="1268413"/>
            <a:ext cx="2916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dirty="0" smtClean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Выводы</a:t>
            </a:r>
          </a:p>
        </p:txBody>
      </p:sp>
    </p:spTree>
    <p:extLst>
      <p:ext uri="{BB962C8B-B14F-4D97-AF65-F5344CB8AC3E}">
        <p14:creationId xmlns:p14="http://schemas.microsoft.com/office/powerpoint/2010/main" val="1894959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4" y="1692000"/>
            <a:ext cx="561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561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3147872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30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4716477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77" y="4356512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2998592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30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250830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77" y="1692000"/>
            <a:ext cx="4176713" cy="460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25082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9444972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5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3204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3204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026972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250830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250830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716477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4716477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5082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2"/>
            </p:custDataLst>
          </p:nvPr>
        </p:nvSpPr>
        <p:spPr>
          <a:xfrm>
            <a:off x="471717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421625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843790" y="54140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0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67790" y="1010677"/>
            <a:ext cx="41148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05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532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вертикальн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244605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44605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/>
            <p:custDataLst>
              <p:tags r:id="rId6"/>
            </p:custDataLst>
          </p:nvPr>
        </p:nvSpPr>
        <p:spPr>
          <a:xfrm>
            <a:off x="464127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83650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4127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683650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574429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121898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5472000" y="1259999"/>
            <a:ext cx="3420000" cy="12311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111954, Москва, </a:t>
            </a: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Космодамианская наб., д. 52, стр. 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2</a:t>
            </a:r>
            <a:endParaRPr lang="ru-RU" sz="1600" dirty="0">
              <a:solidFill>
                <a:srgbClr val="5F6062"/>
              </a:solidFill>
              <a:cs typeface="Arial" charset="0"/>
            </a:endParaRP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Тел.: +7 (495) 730-77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-</a:t>
            </a:r>
            <a:r>
              <a:rPr lang="ru-RU" sz="1600" dirty="0">
                <a:solidFill>
                  <a:srgbClr val="5F6062"/>
                </a:solidFill>
                <a:cs typeface="Arial" charset="0"/>
              </a:rPr>
              <a:t>47</a:t>
            </a:r>
            <a:br>
              <a:rPr lang="ru-RU" sz="1600" dirty="0">
                <a:solidFill>
                  <a:srgbClr val="5F6062"/>
                </a:solidFill>
                <a:cs typeface="Arial" charset="0"/>
              </a:rPr>
            </a:br>
            <a:r>
              <a:rPr lang="ru-RU" sz="1600" dirty="0">
                <a:solidFill>
                  <a:srgbClr val="5F6062"/>
                </a:solidFill>
                <a:cs typeface="Arial" charset="0"/>
              </a:rPr>
              <a:t>Факс: +7 (495) 644-38-27</a:t>
            </a:r>
          </a:p>
          <a:p>
            <a:pPr marL="1588">
              <a:defRPr/>
            </a:pPr>
            <a:r>
              <a:rPr lang="en-US" sz="1600" b="1" dirty="0">
                <a:solidFill>
                  <a:srgbClr val="7A1600"/>
                </a:solidFill>
                <a:cs typeface="Arial" charset="0"/>
              </a:rPr>
              <a:t>www.strategy.ru</a:t>
            </a:r>
            <a:endParaRPr lang="ru-RU" sz="1600" b="1" dirty="0">
              <a:solidFill>
                <a:srgbClr val="7A1600"/>
              </a:solidFill>
              <a:cs typeface="Arial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472000" y="2700000"/>
            <a:ext cx="3420000" cy="2160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  <p:custDataLst>
              <p:tags r:id="rId2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2" y="1268418"/>
            <a:ext cx="4825231" cy="36197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231769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 userDrawn="1"/>
        </p:nvSpPr>
        <p:spPr>
          <a:xfrm>
            <a:off x="0" y="0"/>
            <a:ext cx="9144000" cy="764704"/>
          </a:xfrm>
          <a:prstGeom prst="rect">
            <a:avLst/>
          </a:prstGeom>
          <a:solidFill>
            <a:srgbClr val="0070C1"/>
          </a:solidFill>
        </p:spPr>
        <p:txBody>
          <a:bodyPr vert="horz" lIns="91440" tIns="45720" rIns="91440" bIns="45720" rtlCol="0" anchor="ctr">
            <a:normAutofit/>
          </a:bodyPr>
          <a:lstStyle>
            <a:lvl1pPr indent="450000"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6" name="Picture 7" descr="самара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7" y="44624"/>
            <a:ext cx="576064" cy="62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172400" y="6513919"/>
            <a:ext cx="514400" cy="365125"/>
          </a:xfrm>
          <a:prstGeom prst="rect">
            <a:avLst/>
          </a:prstGeom>
        </p:spPr>
        <p:txBody>
          <a:bodyPr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3D78B8A-58FF-4BB4-B6B6-A98D4AC5AC54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468315" y="981076"/>
            <a:ext cx="8424862" cy="54006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34762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663834" y="2160588"/>
            <a:ext cx="6480175" cy="2519362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60000"/>
            <a:ext cx="2520000" cy="25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024000" y="2519999"/>
            <a:ext cx="5760000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024000" y="4104000"/>
            <a:ext cx="3600000" cy="216000"/>
          </a:xfr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7020000" y="4104000"/>
            <a:ext cx="1800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6984002" y="5400000"/>
            <a:ext cx="1800225" cy="215900"/>
          </a:xfr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Метка</a:t>
            </a:r>
          </a:p>
        </p:txBody>
      </p:sp>
      <p:grpSp>
        <p:nvGrpSpPr>
          <p:cNvPr id="5" name="Group 7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2" y="720004"/>
            <a:ext cx="1800225" cy="719137"/>
            <a:chOff x="201" y="819"/>
            <a:chExt cx="1094" cy="413"/>
          </a:xfrm>
        </p:grpSpPr>
        <p:sp>
          <p:nvSpPr>
            <p:cNvPr id="2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0" name="Text Box 37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1437" y="6696488"/>
            <a:ext cx="720000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defRPr/>
            </a:pP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a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Россия, 11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50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54, Москва, Космодамианская наб., д. 52, стр. 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2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т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730-77-4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ф]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644-38-2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э]</a:t>
            </a:r>
            <a:r>
              <a:rPr lang="ru-RU" sz="800" b="1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inbox@strategy.ru</a:t>
            </a:r>
          </a:p>
        </p:txBody>
      </p:sp>
    </p:spTree>
    <p:extLst>
      <p:ext uri="{BB962C8B-B14F-4D97-AF65-F5344CB8AC3E}">
        <p14:creationId xmlns:p14="http://schemas.microsoft.com/office/powerpoint/2010/main" val="10892369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6783283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260000"/>
            <a:ext cx="8640000" cy="5040312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1441322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972000" y="1692000"/>
            <a:ext cx="7200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1332000" y="1260000"/>
            <a:ext cx="6480000" cy="5040312"/>
          </a:xfrm>
        </p:spPr>
        <p:txBody>
          <a:bodyPr/>
          <a:lstStyle>
            <a:lvl1pPr>
              <a:spcBef>
                <a:spcPts val="1800"/>
              </a:spcBef>
              <a:defRPr sz="1600"/>
            </a:lvl1pPr>
            <a:lvl2pPr marL="0" indent="0">
              <a:spcBef>
                <a:spcPts val="1800"/>
              </a:spcBef>
              <a:buNone/>
              <a:defRPr sz="1600" b="1">
                <a:solidFill>
                  <a:schemeClr val="bg1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9346987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30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4716477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716463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3790631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 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3284075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250838" y="1692512"/>
            <a:ext cx="2881015" cy="4608000"/>
          </a:xfrm>
          <a:ln w="3175" cmpd="sng">
            <a:noFill/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3419875" y="1692512"/>
            <a:ext cx="5473304" cy="4608000"/>
          </a:xfrm>
          <a:ln w="3175" cmpd="sng">
            <a:solidFill>
              <a:schemeClr val="bg2"/>
            </a:solidFill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250827" y="215900"/>
            <a:ext cx="8642350" cy="215900"/>
          </a:xfrm>
        </p:spPr>
        <p:txBody>
          <a:bodyPr vert="horz" lIns="0" tIns="0" rIns="0" bIns="18000" rtlCol="0" anchor="b" anchorCtr="0">
            <a:noAutofit/>
          </a:bodyPr>
          <a:lstStyle>
            <a:lvl1pPr>
              <a:defRPr lang="ru-RU" b="1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Название раздел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3419873" y="1268413"/>
            <a:ext cx="5472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0"/>
          <p:cNvCxnSpPr/>
          <p:nvPr userDrawn="1">
            <p:custDataLst>
              <p:tags r:id="rId10"/>
            </p:custDataLst>
          </p:nvPr>
        </p:nvCxnSpPr>
        <p:spPr>
          <a:xfrm flipH="1">
            <a:off x="251520" y="1692512"/>
            <a:ext cx="160" cy="4608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2" name="Прямая соединительная линия 21"/>
          <p:cNvCxnSpPr/>
          <p:nvPr userDrawn="1">
            <p:custDataLst>
              <p:tags r:id="rId11"/>
            </p:custDataLst>
          </p:nvPr>
        </p:nvCxnSpPr>
        <p:spPr>
          <a:xfrm flipH="1">
            <a:off x="251523" y="6300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3" name="Прямая соединительная линия 22"/>
          <p:cNvCxnSpPr/>
          <p:nvPr userDrawn="1">
            <p:custDataLst>
              <p:tags r:id="rId12"/>
            </p:custDataLst>
          </p:nvPr>
        </p:nvCxnSpPr>
        <p:spPr>
          <a:xfrm flipH="1">
            <a:off x="251680" y="1692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4" name="Прямая соединительная линия 23"/>
          <p:cNvCxnSpPr/>
          <p:nvPr userDrawn="1">
            <p:custDataLst>
              <p:tags r:id="rId13"/>
            </p:custDataLst>
          </p:nvPr>
        </p:nvCxnSpPr>
        <p:spPr>
          <a:xfrm>
            <a:off x="3131842" y="1340366"/>
            <a:ext cx="216160" cy="2471212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5" name="Прямая соединительная линия 24"/>
          <p:cNvCxnSpPr/>
          <p:nvPr userDrawn="1">
            <p:custDataLst>
              <p:tags r:id="rId14"/>
            </p:custDataLst>
          </p:nvPr>
        </p:nvCxnSpPr>
        <p:spPr>
          <a:xfrm flipH="1">
            <a:off x="3131840" y="3787447"/>
            <a:ext cx="216000" cy="2521287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16"/>
          <p:cNvSpPr>
            <a:spLocks noGrp="1"/>
          </p:cNvSpPr>
          <p:nvPr>
            <p:ph type="body" sz="quarter" idx="20" hasCustomPrompt="1"/>
            <p:custDataLst>
              <p:tags r:id="rId15"/>
            </p:custDataLst>
          </p:nvPr>
        </p:nvSpPr>
        <p:spPr>
          <a:xfrm>
            <a:off x="251520" y="1268413"/>
            <a:ext cx="2916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dirty="0" smtClean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Выводы</a:t>
            </a:r>
          </a:p>
        </p:txBody>
      </p:sp>
    </p:spTree>
    <p:extLst>
      <p:ext uri="{BB962C8B-B14F-4D97-AF65-F5344CB8AC3E}">
        <p14:creationId xmlns:p14="http://schemas.microsoft.com/office/powerpoint/2010/main" val="2347287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836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4" y="1692000"/>
            <a:ext cx="561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561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2711665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30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4716477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77" y="4356512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118087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30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250830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77" y="1692000"/>
            <a:ext cx="4176713" cy="460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25082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4262208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5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3204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3204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33386470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250830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250830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716477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4716477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5082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2"/>
            </p:custDataLst>
          </p:nvPr>
        </p:nvSpPr>
        <p:spPr>
          <a:xfrm>
            <a:off x="471717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0473959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вертикальн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244605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44605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/>
            <p:custDataLst>
              <p:tags r:id="rId6"/>
            </p:custDataLst>
          </p:nvPr>
        </p:nvSpPr>
        <p:spPr>
          <a:xfrm>
            <a:off x="464127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83650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4127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683650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31587848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0612467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5472000" y="1259999"/>
            <a:ext cx="3420000" cy="12311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111954, Москва, </a:t>
            </a: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Космодамианская наб., д. 52, стр. 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2</a:t>
            </a:r>
            <a:endParaRPr lang="ru-RU" sz="1600" dirty="0">
              <a:solidFill>
                <a:srgbClr val="5F6062"/>
              </a:solidFill>
              <a:cs typeface="Arial" charset="0"/>
            </a:endParaRP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Тел.: +7 (495) 730-77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-</a:t>
            </a:r>
            <a:r>
              <a:rPr lang="ru-RU" sz="1600" dirty="0">
                <a:solidFill>
                  <a:srgbClr val="5F6062"/>
                </a:solidFill>
                <a:cs typeface="Arial" charset="0"/>
              </a:rPr>
              <a:t>47</a:t>
            </a:r>
            <a:br>
              <a:rPr lang="ru-RU" sz="1600" dirty="0">
                <a:solidFill>
                  <a:srgbClr val="5F6062"/>
                </a:solidFill>
                <a:cs typeface="Arial" charset="0"/>
              </a:rPr>
            </a:br>
            <a:r>
              <a:rPr lang="ru-RU" sz="1600" dirty="0">
                <a:solidFill>
                  <a:srgbClr val="5F6062"/>
                </a:solidFill>
                <a:cs typeface="Arial" charset="0"/>
              </a:rPr>
              <a:t>Факс: +7 (495) 644-38-27</a:t>
            </a:r>
          </a:p>
          <a:p>
            <a:pPr marL="1588">
              <a:defRPr/>
            </a:pPr>
            <a:r>
              <a:rPr lang="en-US" sz="1600" b="1" dirty="0">
                <a:solidFill>
                  <a:srgbClr val="7A1600"/>
                </a:solidFill>
                <a:cs typeface="Arial" charset="0"/>
              </a:rPr>
              <a:t>www.strategy.ru</a:t>
            </a:r>
            <a:endParaRPr lang="ru-RU" sz="1600" b="1" dirty="0">
              <a:solidFill>
                <a:srgbClr val="7A1600"/>
              </a:solidFill>
              <a:cs typeface="Arial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472000" y="2700000"/>
            <a:ext cx="3420000" cy="2160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  <p:custDataLst>
              <p:tags r:id="rId2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2" y="1268418"/>
            <a:ext cx="4825231" cy="36197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296015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3152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843790" y="54140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0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67790" y="1010677"/>
            <a:ext cx="41148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05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604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6522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592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55571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78512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9020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601550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9759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9555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843790" y="54140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0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67790" y="1010677"/>
            <a:ext cx="41148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05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746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472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93165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418930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901072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7884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297570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56351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16"/>
          <p:cNvSpPr>
            <a:spLocks noChangeShapeType="1"/>
          </p:cNvSpPr>
          <p:nvPr/>
        </p:nvSpPr>
        <p:spPr bwMode="auto">
          <a:xfrm>
            <a:off x="0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5" name="Shape 17"/>
          <p:cNvSpPr>
            <a:spLocks noChangeArrowheads="1"/>
          </p:cNvSpPr>
          <p:nvPr/>
        </p:nvSpPr>
        <p:spPr bwMode="auto">
          <a:xfrm>
            <a:off x="2051050" y="6597650"/>
            <a:ext cx="59769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>
            <a:spAutoFit/>
          </a:bodyPr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>
                <a:solidFill>
                  <a:srgbClr val="898989"/>
                </a:solidFill>
                <a:latin typeface="Arial" charset="0"/>
                <a:sym typeface="Arial" charset="0"/>
              </a:rPr>
              <a:t>Правительство Самарской области</a:t>
            </a:r>
          </a:p>
        </p:txBody>
      </p:sp>
      <p:sp>
        <p:nvSpPr>
          <p:cNvPr id="6" name="Shape 18"/>
          <p:cNvSpPr>
            <a:spLocks noChangeShapeType="1"/>
          </p:cNvSpPr>
          <p:nvPr/>
        </p:nvSpPr>
        <p:spPr bwMode="auto">
          <a:xfrm>
            <a:off x="6011863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pic>
        <p:nvPicPr>
          <p:cNvPr id="7" name="image1.tif" descr="самара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44450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8" name="Shape 22"/>
          <p:cNvSpPr>
            <a:spLocks noChangeShapeType="1"/>
          </p:cNvSpPr>
          <p:nvPr/>
        </p:nvSpPr>
        <p:spPr bwMode="auto">
          <a:xfrm>
            <a:off x="684213" y="3284538"/>
            <a:ext cx="845978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9" name="Shape 23"/>
          <p:cNvSpPr>
            <a:spLocks noChangeArrowheads="1"/>
          </p:cNvSpPr>
          <p:nvPr/>
        </p:nvSpPr>
        <p:spPr bwMode="auto">
          <a:xfrm>
            <a:off x="2124075" y="6669088"/>
            <a:ext cx="5616575" cy="14446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 anchor="ctr"/>
          <a:lstStyle>
            <a:lvl1pPr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19" name="Shape 19"/>
          <p:cNvSpPr>
            <a:spLocks noGrp="1"/>
          </p:cNvSpPr>
          <p:nvPr>
            <p:ph type="title"/>
          </p:nvPr>
        </p:nvSpPr>
        <p:spPr>
          <a:xfrm>
            <a:off x="685800" y="1628799"/>
            <a:ext cx="8458200" cy="1470026"/>
          </a:xfrm>
          <a:prstGeom prst="rect">
            <a:avLst/>
          </a:prstGeom>
        </p:spPr>
        <p:txBody>
          <a:bodyPr/>
          <a:lstStyle>
            <a:lvl1pPr indent="0">
              <a:defRPr sz="2800" b="1"/>
            </a:lvl1pPr>
          </a:lstStyle>
          <a:p>
            <a:r>
              <a:t>ЗАГОЛОВОК ПРЕЗЕНТАЦИИ</a:t>
            </a:r>
          </a:p>
        </p:txBody>
      </p:sp>
      <p:sp>
        <p:nvSpPr>
          <p:cNvPr id="20" name="Shape 20"/>
          <p:cNvSpPr>
            <a:spLocks noGrp="1"/>
          </p:cNvSpPr>
          <p:nvPr>
            <p:ph type="body" sz="quarter" idx="1"/>
          </p:nvPr>
        </p:nvSpPr>
        <p:spPr>
          <a:xfrm>
            <a:off x="2555775" y="4077072"/>
            <a:ext cx="6400801" cy="720081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400"/>
              </a:spcBef>
              <a:buSzTx/>
              <a:buFontTx/>
              <a:buNone/>
              <a:defRPr sz="2000"/>
            </a:lvl1pPr>
          </a:lstStyle>
          <a:p>
            <a:r>
              <a:t>ПОДЗАГОЛОВОК ПРЕЗЕНТАЦИИ</a:t>
            </a:r>
          </a:p>
        </p:txBody>
      </p:sp>
      <p:sp>
        <p:nvSpPr>
          <p:cNvPr id="10" name="Shape 24"/>
          <p:cNvSpPr>
            <a:spLocks noGrp="1"/>
          </p:cNvSpPr>
          <p:nvPr>
            <p:ph type="sldNum" sz="quarter" idx="10"/>
          </p:nvPr>
        </p:nvSpPr>
        <p:spPr>
          <a:xfrm>
            <a:off x="6553200" y="6111875"/>
            <a:ext cx="24765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E6EA05-8396-4613-BB8F-3DC2787CFA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1399868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18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64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91418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2417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 userDrawn="1"/>
        </p:nvSpPr>
        <p:spPr>
          <a:xfrm>
            <a:off x="0" y="0"/>
            <a:ext cx="9144000" cy="764704"/>
          </a:xfrm>
          <a:prstGeom prst="rect">
            <a:avLst/>
          </a:prstGeom>
          <a:solidFill>
            <a:srgbClr val="0070C1"/>
          </a:solidFill>
        </p:spPr>
        <p:txBody>
          <a:bodyPr vert="horz" lIns="91440" tIns="45720" rIns="91440" bIns="45720" rtlCol="0" anchor="ctr">
            <a:normAutofit/>
          </a:bodyPr>
          <a:lstStyle>
            <a:lvl1pPr indent="450000"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>
              <a:solidFill>
                <a:srgbClr val="FFFFFF"/>
              </a:solidFill>
              <a:sym typeface="Arial"/>
            </a:endParaRPr>
          </a:p>
        </p:txBody>
      </p:sp>
      <p:pic>
        <p:nvPicPr>
          <p:cNvPr id="6" name="Picture 7" descr="самара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4624"/>
            <a:ext cx="576064" cy="62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172400" y="6513863"/>
            <a:ext cx="514400" cy="365125"/>
          </a:xfrm>
          <a:prstGeom prst="rect">
            <a:avLst/>
          </a:prstGeom>
        </p:spPr>
        <p:txBody>
          <a:bodyPr anchor="b"/>
          <a:lstStyle/>
          <a:p>
            <a:fld id="{33D78B8A-58FF-4BB4-B6B6-A98D4AC5AC5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468313" y="981075"/>
            <a:ext cx="8424862" cy="54006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33662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 userDrawn="1"/>
        </p:nvSpPr>
        <p:spPr>
          <a:xfrm>
            <a:off x="0" y="-27384"/>
            <a:ext cx="9144000" cy="764704"/>
          </a:xfrm>
          <a:prstGeom prst="rect">
            <a:avLst/>
          </a:prstGeom>
          <a:solidFill>
            <a:srgbClr val="0070C1"/>
          </a:solidFill>
        </p:spPr>
        <p:txBody>
          <a:bodyPr vert="horz" lIns="91440" tIns="45720" rIns="91440" bIns="45720" rtlCol="0" anchor="ctr">
            <a:normAutofit/>
          </a:bodyPr>
          <a:lstStyle>
            <a:lvl1pPr indent="450000"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800" dirty="0">
              <a:solidFill>
                <a:prstClr val="white"/>
              </a:solidFill>
              <a:sym typeface="Franklin Gothic Book"/>
            </a:endParaRPr>
          </a:p>
        </p:txBody>
      </p:sp>
      <p:pic>
        <p:nvPicPr>
          <p:cNvPr id="6" name="Picture 7" descr="самара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7" y="44624"/>
            <a:ext cx="576064" cy="62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Дата 1"/>
          <p:cNvSpPr>
            <a:spLocks noGrp="1"/>
          </p:cNvSpPr>
          <p:nvPr>
            <p:ph type="dt" sz="half" idx="10"/>
          </p:nvPr>
        </p:nvSpPr>
        <p:spPr>
          <a:xfrm>
            <a:off x="457204" y="6513915"/>
            <a:ext cx="1378496" cy="365125"/>
          </a:xfrm>
          <a:prstGeom prst="rect">
            <a:avLst/>
          </a:prstGeom>
        </p:spPr>
        <p:txBody>
          <a:bodyPr anchor="b"/>
          <a:lstStyle/>
          <a:p>
            <a:pPr defTabSz="914180"/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172400" y="6513915"/>
            <a:ext cx="514400" cy="365125"/>
          </a:xfrm>
          <a:prstGeom prst="rect">
            <a:avLst/>
          </a:prstGeom>
        </p:spPr>
        <p:txBody>
          <a:bodyPr anchor="b"/>
          <a:lstStyle/>
          <a:p>
            <a:fld id="{33D78B8A-58FF-4BB4-B6B6-A98D4AC5AC54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468315" y="981076"/>
            <a:ext cx="8424862" cy="54006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ctrTitle"/>
          </p:nvPr>
        </p:nvSpPr>
        <p:spPr>
          <a:xfrm>
            <a:off x="1187628" y="0"/>
            <a:ext cx="7270576" cy="737320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123144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45"/>
          <p:cNvSpPr>
            <a:spLocks noChangeShapeType="1"/>
          </p:cNvSpPr>
          <p:nvPr/>
        </p:nvSpPr>
        <p:spPr bwMode="auto">
          <a:xfrm>
            <a:off x="0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5" name="Shape 46"/>
          <p:cNvSpPr>
            <a:spLocks noChangeArrowheads="1"/>
          </p:cNvSpPr>
          <p:nvPr/>
        </p:nvSpPr>
        <p:spPr bwMode="auto">
          <a:xfrm>
            <a:off x="2051050" y="6597650"/>
            <a:ext cx="59769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>
            <a:spAutoFit/>
          </a:bodyPr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>
                <a:solidFill>
                  <a:srgbClr val="898989"/>
                </a:solidFill>
                <a:latin typeface="Arial" charset="0"/>
                <a:sym typeface="Arial" charset="0"/>
              </a:rPr>
              <a:t>Правительство Самарской области</a:t>
            </a:r>
          </a:p>
        </p:txBody>
      </p:sp>
      <p:sp>
        <p:nvSpPr>
          <p:cNvPr id="6" name="Shape 47"/>
          <p:cNvSpPr>
            <a:spLocks noChangeShapeType="1"/>
          </p:cNvSpPr>
          <p:nvPr/>
        </p:nvSpPr>
        <p:spPr bwMode="auto">
          <a:xfrm>
            <a:off x="6011863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7" name="Shape 48"/>
          <p:cNvSpPr>
            <a:spLocks noChangeArrowheads="1"/>
          </p:cNvSpPr>
          <p:nvPr/>
        </p:nvSpPr>
        <p:spPr bwMode="auto">
          <a:xfrm>
            <a:off x="0" y="-26988"/>
            <a:ext cx="9144000" cy="763588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 anchor="ctr"/>
          <a:lstStyle>
            <a:lvl1pPr indent="449263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4400">
              <a:solidFill>
                <a:srgbClr val="FFFFFF"/>
              </a:solidFill>
            </a:endParaRPr>
          </a:p>
        </p:txBody>
      </p:sp>
      <p:pic>
        <p:nvPicPr>
          <p:cNvPr id="8" name="image1.tif" descr="самара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44450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1" name="Shape 5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1187624" y="-27384"/>
            <a:ext cx="7270577" cy="737321"/>
          </a:xfrm>
          <a:prstGeom prst="rect">
            <a:avLst/>
          </a:prstGeom>
          <a:noFill/>
        </p:spPr>
        <p:txBody>
          <a:bodyPr/>
          <a:lstStyle>
            <a:lvl1pPr indent="0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9" name="Shape 5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0326E-BC82-442E-9EDA-F587EB72490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17042931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8750357" y="193410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6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238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943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843790" y="541356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0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67790" y="1010677"/>
            <a:ext cx="41148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05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8750357" y="193410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6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92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2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2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8750357" y="193410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6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389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29163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5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2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2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75121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5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8750357" y="193410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6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7384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2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2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29888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05"/>
            <a:ext cx="9144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39117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2693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843790" y="54140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0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67790" y="1010677"/>
            <a:ext cx="41148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05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8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414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86705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858380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434275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5828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568331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409021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/>
                </a:solidFill>
              </a:rPr>
              <a:pPr/>
              <a:t>22.04.202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1185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5E2572-0BFD-47DB-8D9C-0F2DF574800B}" type="datetimeFigureOut">
              <a:rPr lang="ru-RU" smtClean="0">
                <a:solidFill>
                  <a:prstClr val="black"/>
                </a:solidFill>
              </a:rPr>
              <a:pPr/>
              <a:t>22.04.202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8E8D92-8AEA-457F-A665-7A49518BEA94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55094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7"/>
          <p:cNvSpPr>
            <a:spLocks noGrp="1"/>
          </p:cNvSpPr>
          <p:nvPr>
            <p:ph type="sldNum" sz="quarter" idx="2"/>
          </p:nvPr>
        </p:nvSpPr>
        <p:spPr>
          <a:xfrm>
            <a:off x="7002343" y="6381750"/>
            <a:ext cx="2133601" cy="28708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065627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5102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843790" y="54140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0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67790" y="1010677"/>
            <a:ext cx="41148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05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754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60215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466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6547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230342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8750383" y="193414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1626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42" y="203011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62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62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0965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04922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57"/>
            <a:ext cx="9144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626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337448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/>
                </a:solidFill>
              </a:rPr>
              <a:pPr/>
              <a:t>22.04.202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9706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5E2572-0BFD-47DB-8D9C-0F2DF574800B}" type="datetimeFigureOut">
              <a:rPr lang="ru-RU" smtClean="0">
                <a:solidFill>
                  <a:prstClr val="black"/>
                </a:solidFill>
              </a:rPr>
              <a:pPr/>
              <a:t>22.04.202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8E8D92-8AEA-457F-A665-7A49518BEA94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1336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7"/>
          <p:cNvSpPr>
            <a:spLocks noGrp="1"/>
          </p:cNvSpPr>
          <p:nvPr>
            <p:ph type="sldNum" sz="quarter" idx="2"/>
          </p:nvPr>
        </p:nvSpPr>
        <p:spPr>
          <a:xfrm>
            <a:off x="7002343" y="6381750"/>
            <a:ext cx="2133601" cy="28708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327762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382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663834" y="2160588"/>
            <a:ext cx="6480175" cy="2519362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60000"/>
            <a:ext cx="2520000" cy="25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024000" y="2519999"/>
            <a:ext cx="5760000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024000" y="4104000"/>
            <a:ext cx="3600000" cy="216000"/>
          </a:xfr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7020000" y="4104000"/>
            <a:ext cx="1800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6984002" y="5400000"/>
            <a:ext cx="1800225" cy="215900"/>
          </a:xfr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Метка</a:t>
            </a:r>
          </a:p>
        </p:txBody>
      </p:sp>
      <p:grpSp>
        <p:nvGrpSpPr>
          <p:cNvPr id="5" name="Group 7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2" y="720004"/>
            <a:ext cx="1800225" cy="719137"/>
            <a:chOff x="201" y="819"/>
            <a:chExt cx="1094" cy="413"/>
          </a:xfrm>
        </p:grpSpPr>
        <p:sp>
          <p:nvSpPr>
            <p:cNvPr id="2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0" name="Text Box 37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1437" y="6696488"/>
            <a:ext cx="720000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defRPr/>
            </a:pP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a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Россия, 11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50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54, Москва, Космодамианская наб., д. 52, стр. 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2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т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730-77-4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ф]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644-38-2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э]</a:t>
            </a:r>
            <a:r>
              <a:rPr lang="ru-RU" sz="800" b="1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inbox@strategy.ru</a:t>
            </a:r>
          </a:p>
        </p:txBody>
      </p:sp>
    </p:spTree>
    <p:extLst>
      <p:ext uri="{BB962C8B-B14F-4D97-AF65-F5344CB8AC3E}">
        <p14:creationId xmlns:p14="http://schemas.microsoft.com/office/powerpoint/2010/main" val="146449651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5796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65486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1153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81514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12272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0584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4718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901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2726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761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0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oleObject" Target="../embeddings/oleObject12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103.xml"/><Relationship Id="rId2" Type="http://schemas.openxmlformats.org/officeDocument/2006/relationships/slideLayout" Target="../slideLayouts/slideLayout25.xml"/><Relationship Id="rId16" Type="http://schemas.openxmlformats.org/officeDocument/2006/relationships/vmlDrawing" Target="../drawings/vmlDrawing12.v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1448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5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915CA1-2F86-46A6-A5D2-DCD26513F4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30A2B7-F7FF-43CB-B705-8AD195453D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582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  <p:sldLayoutId id="2147484329" r:id="rId3"/>
    <p:sldLayoutId id="2147484330" r:id="rId4"/>
    <p:sldLayoutId id="2147484331" r:id="rId5"/>
    <p:sldLayoutId id="2147484332" r:id="rId6"/>
    <p:sldLayoutId id="2147484333" r:id="rId7"/>
    <p:sldLayoutId id="2147484334" r:id="rId8"/>
    <p:sldLayoutId id="2147484335" r:id="rId9"/>
    <p:sldLayoutId id="2147484336" r:id="rId10"/>
    <p:sldLayoutId id="214748433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03638775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0"/>
          <p:cNvSpPr>
            <a:spLocks noChangeAspect="1"/>
          </p:cNvSpPr>
          <p:nvPr/>
        </p:nvSpPr>
        <p:spPr bwMode="auto">
          <a:xfrm>
            <a:off x="8712204" y="6642100"/>
            <a:ext cx="431800" cy="21590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5784" tIns="47892" rIns="95784" bIns="47892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5" y="6642100"/>
            <a:ext cx="8640763" cy="2159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5784" tIns="47892" rIns="95784" bIns="47892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Freeform 50"/>
          <p:cNvSpPr>
            <a:spLocks/>
          </p:cNvSpPr>
          <p:nvPr/>
        </p:nvSpPr>
        <p:spPr bwMode="auto">
          <a:xfrm>
            <a:off x="1" y="215900"/>
            <a:ext cx="215900" cy="216116"/>
          </a:xfrm>
          <a:custGeom>
            <a:avLst/>
            <a:gdLst>
              <a:gd name="T0" fmla="*/ 2263291 w 10000"/>
              <a:gd name="T1" fmla="*/ 0 h 10000"/>
              <a:gd name="T2" fmla="*/ 0 w 10000"/>
              <a:gd name="T3" fmla="*/ 0 h 10000"/>
              <a:gd name="T4" fmla="*/ 0 w 10000"/>
              <a:gd name="T5" fmla="*/ 18662400 h 10000"/>
              <a:gd name="T6" fmla="*/ 2263291 w 10000"/>
              <a:gd name="T7" fmla="*/ 18662400 h 10000"/>
              <a:gd name="T8" fmla="*/ 4665600 w 10000"/>
              <a:gd name="T9" fmla="*/ 9331200 h 10000"/>
              <a:gd name="T10" fmla="*/ 2263291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connsiteX0" fmla="*/ 4851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10000 h 10000"/>
              <a:gd name="connsiteX3" fmla="*/ 10000 w 10000"/>
              <a:gd name="connsiteY3" fmla="*/ 5000 h 10000"/>
              <a:gd name="connsiteX4" fmla="*/ 4851 w 10000"/>
              <a:gd name="connsiteY4" fmla="*/ 0 h 10000"/>
              <a:gd name="connsiteX0" fmla="*/ 4851 w 10000"/>
              <a:gd name="connsiteY0" fmla="*/ 0 h 5005"/>
              <a:gd name="connsiteX1" fmla="*/ 0 w 10000"/>
              <a:gd name="connsiteY1" fmla="*/ 0 h 5005"/>
              <a:gd name="connsiteX2" fmla="*/ 0 w 10000"/>
              <a:gd name="connsiteY2" fmla="*/ 5005 h 5005"/>
              <a:gd name="connsiteX3" fmla="*/ 10000 w 10000"/>
              <a:gd name="connsiteY3" fmla="*/ 5000 h 5005"/>
              <a:gd name="connsiteX4" fmla="*/ 4851 w 10000"/>
              <a:gd name="connsiteY4" fmla="*/ 0 h 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5005">
                <a:moveTo>
                  <a:pt x="4851" y="0"/>
                </a:moveTo>
                <a:lnTo>
                  <a:pt x="0" y="0"/>
                </a:lnTo>
                <a:lnTo>
                  <a:pt x="0" y="5005"/>
                </a:lnTo>
                <a:lnTo>
                  <a:pt x="10000" y="5000"/>
                </a:lnTo>
                <a:lnTo>
                  <a:pt x="4851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reeform 50"/>
          <p:cNvSpPr>
            <a:spLocks/>
          </p:cNvSpPr>
          <p:nvPr/>
        </p:nvSpPr>
        <p:spPr bwMode="auto">
          <a:xfrm>
            <a:off x="1" y="431800"/>
            <a:ext cx="215900" cy="215900"/>
          </a:xfrm>
          <a:custGeom>
            <a:avLst/>
            <a:gdLst>
              <a:gd name="T0" fmla="*/ 4665600 w 10000"/>
              <a:gd name="T1" fmla="*/ 0 h 5000"/>
              <a:gd name="T2" fmla="*/ 0 w 10000"/>
              <a:gd name="T3" fmla="*/ 13046 h 5000"/>
              <a:gd name="T4" fmla="*/ 0 w 10000"/>
              <a:gd name="T5" fmla="*/ 9331200 h 5000"/>
              <a:gd name="T6" fmla="*/ 2263291 w 10000"/>
              <a:gd name="T7" fmla="*/ 9331200 h 5000"/>
              <a:gd name="T8" fmla="*/ 4665600 w 10000"/>
              <a:gd name="T9" fmla="*/ 0 h 5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00" h="5000">
                <a:moveTo>
                  <a:pt x="10000" y="0"/>
                </a:moveTo>
                <a:lnTo>
                  <a:pt x="0" y="7"/>
                </a:lnTo>
                <a:lnTo>
                  <a:pt x="0" y="5000"/>
                </a:lnTo>
                <a:lnTo>
                  <a:pt x="4851" y="500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1260005"/>
            <a:ext cx="8640000" cy="5040311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431800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/>
              <a:t>Вывод слайда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252000" y="6688551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  <a:cs typeface="Arial" charset="0"/>
              </a:rPr>
              <a:t>© Strategy Partners Group | </a:t>
            </a:r>
            <a:r>
              <a:rPr lang="ru-RU" sz="800" dirty="0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215901" y="431800"/>
            <a:ext cx="89281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8828496" y="6675530"/>
            <a:ext cx="157094" cy="153888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>
              <a:defRPr/>
            </a:pPr>
            <a:fld id="{8088333F-969B-4E2E-A6DA-00108481B495}" type="slidenum">
              <a:rPr lang="ru-RU" sz="1000" b="1">
                <a:solidFill>
                  <a:srgbClr val="FFFFFF"/>
                </a:solidFill>
                <a:cs typeface="Arial" charset="0"/>
              </a:rPr>
              <a:pPr algn="ctr">
                <a:defRPr/>
              </a:pPr>
              <a:t>‹#›</a:t>
            </a:fld>
            <a:endParaRPr lang="ru-RU" sz="1000" b="1" kern="0" dirty="0">
              <a:solidFill>
                <a:sysClr val="windowText" lastClr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708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61893119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0"/>
          <p:cNvSpPr>
            <a:spLocks noChangeAspect="1"/>
          </p:cNvSpPr>
          <p:nvPr/>
        </p:nvSpPr>
        <p:spPr bwMode="auto">
          <a:xfrm>
            <a:off x="8712204" y="6642100"/>
            <a:ext cx="431800" cy="21590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5784" tIns="47892" rIns="95784" bIns="47892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5" y="6642100"/>
            <a:ext cx="8640763" cy="2159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5784" tIns="47892" rIns="95784" bIns="47892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Freeform 50"/>
          <p:cNvSpPr>
            <a:spLocks/>
          </p:cNvSpPr>
          <p:nvPr/>
        </p:nvSpPr>
        <p:spPr bwMode="auto">
          <a:xfrm>
            <a:off x="1" y="215900"/>
            <a:ext cx="215900" cy="216116"/>
          </a:xfrm>
          <a:custGeom>
            <a:avLst/>
            <a:gdLst>
              <a:gd name="T0" fmla="*/ 2263291 w 10000"/>
              <a:gd name="T1" fmla="*/ 0 h 10000"/>
              <a:gd name="T2" fmla="*/ 0 w 10000"/>
              <a:gd name="T3" fmla="*/ 0 h 10000"/>
              <a:gd name="T4" fmla="*/ 0 w 10000"/>
              <a:gd name="T5" fmla="*/ 18662400 h 10000"/>
              <a:gd name="T6" fmla="*/ 2263291 w 10000"/>
              <a:gd name="T7" fmla="*/ 18662400 h 10000"/>
              <a:gd name="T8" fmla="*/ 4665600 w 10000"/>
              <a:gd name="T9" fmla="*/ 9331200 h 10000"/>
              <a:gd name="T10" fmla="*/ 2263291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connsiteX0" fmla="*/ 4851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10000 h 10000"/>
              <a:gd name="connsiteX3" fmla="*/ 10000 w 10000"/>
              <a:gd name="connsiteY3" fmla="*/ 5000 h 10000"/>
              <a:gd name="connsiteX4" fmla="*/ 4851 w 10000"/>
              <a:gd name="connsiteY4" fmla="*/ 0 h 10000"/>
              <a:gd name="connsiteX0" fmla="*/ 4851 w 10000"/>
              <a:gd name="connsiteY0" fmla="*/ 0 h 5005"/>
              <a:gd name="connsiteX1" fmla="*/ 0 w 10000"/>
              <a:gd name="connsiteY1" fmla="*/ 0 h 5005"/>
              <a:gd name="connsiteX2" fmla="*/ 0 w 10000"/>
              <a:gd name="connsiteY2" fmla="*/ 5005 h 5005"/>
              <a:gd name="connsiteX3" fmla="*/ 10000 w 10000"/>
              <a:gd name="connsiteY3" fmla="*/ 5000 h 5005"/>
              <a:gd name="connsiteX4" fmla="*/ 4851 w 10000"/>
              <a:gd name="connsiteY4" fmla="*/ 0 h 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5005">
                <a:moveTo>
                  <a:pt x="4851" y="0"/>
                </a:moveTo>
                <a:lnTo>
                  <a:pt x="0" y="0"/>
                </a:lnTo>
                <a:lnTo>
                  <a:pt x="0" y="5005"/>
                </a:lnTo>
                <a:lnTo>
                  <a:pt x="10000" y="5000"/>
                </a:lnTo>
                <a:lnTo>
                  <a:pt x="4851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reeform 50"/>
          <p:cNvSpPr>
            <a:spLocks/>
          </p:cNvSpPr>
          <p:nvPr/>
        </p:nvSpPr>
        <p:spPr bwMode="auto">
          <a:xfrm>
            <a:off x="1" y="431800"/>
            <a:ext cx="215900" cy="215900"/>
          </a:xfrm>
          <a:custGeom>
            <a:avLst/>
            <a:gdLst>
              <a:gd name="T0" fmla="*/ 4665600 w 10000"/>
              <a:gd name="T1" fmla="*/ 0 h 5000"/>
              <a:gd name="T2" fmla="*/ 0 w 10000"/>
              <a:gd name="T3" fmla="*/ 13046 h 5000"/>
              <a:gd name="T4" fmla="*/ 0 w 10000"/>
              <a:gd name="T5" fmla="*/ 9331200 h 5000"/>
              <a:gd name="T6" fmla="*/ 2263291 w 10000"/>
              <a:gd name="T7" fmla="*/ 9331200 h 5000"/>
              <a:gd name="T8" fmla="*/ 4665600 w 10000"/>
              <a:gd name="T9" fmla="*/ 0 h 5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00" h="5000">
                <a:moveTo>
                  <a:pt x="10000" y="0"/>
                </a:moveTo>
                <a:lnTo>
                  <a:pt x="0" y="7"/>
                </a:lnTo>
                <a:lnTo>
                  <a:pt x="0" y="5000"/>
                </a:lnTo>
                <a:lnTo>
                  <a:pt x="4851" y="500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1260005"/>
            <a:ext cx="8640000" cy="5040311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431800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/>
              <a:t>Вывод слайда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252000" y="6688551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  <a:cs typeface="Arial" charset="0"/>
              </a:rPr>
              <a:t>© Strategy Partners Group | </a:t>
            </a:r>
            <a:r>
              <a:rPr lang="ru-RU" sz="800" dirty="0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215901" y="431800"/>
            <a:ext cx="89281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8828496" y="6675530"/>
            <a:ext cx="157094" cy="153888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>
              <a:defRPr/>
            </a:pPr>
            <a:fld id="{8088333F-969B-4E2E-A6DA-00108481B495}" type="slidenum">
              <a:rPr lang="ru-RU" sz="1000" b="1">
                <a:solidFill>
                  <a:srgbClr val="FFFFFF"/>
                </a:solidFill>
                <a:cs typeface="Arial" charset="0"/>
              </a:rPr>
              <a:pPr algn="ctr">
                <a:defRPr/>
              </a:pPr>
              <a:t>‹#›</a:t>
            </a:fld>
            <a:endParaRPr lang="ru-RU" sz="1000" b="1" kern="0" dirty="0">
              <a:solidFill>
                <a:sysClr val="windowText" lastClr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013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3219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877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2"/>
          <p:cNvSpPr>
            <a:spLocks noChangeShapeType="1"/>
          </p:cNvSpPr>
          <p:nvPr/>
        </p:nvSpPr>
        <p:spPr bwMode="auto">
          <a:xfrm>
            <a:off x="0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1027" name="Shape 3"/>
          <p:cNvSpPr>
            <a:spLocks noChangeArrowheads="1"/>
          </p:cNvSpPr>
          <p:nvPr/>
        </p:nvSpPr>
        <p:spPr bwMode="auto">
          <a:xfrm>
            <a:off x="2051050" y="6597650"/>
            <a:ext cx="59769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>
            <a:spAutoFit/>
          </a:bodyPr>
          <a:lstStyle/>
          <a:p>
            <a:pPr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>
                <a:solidFill>
                  <a:srgbClr val="898989"/>
                </a:solidFill>
                <a:latin typeface="Arial" charset="0"/>
                <a:sym typeface="Arial" charset="0"/>
              </a:rPr>
              <a:t>Министерство экономического развития и инвестиций Самарской области</a:t>
            </a:r>
          </a:p>
        </p:txBody>
      </p:sp>
      <p:sp>
        <p:nvSpPr>
          <p:cNvPr id="1028" name="Shape 4"/>
          <p:cNvSpPr>
            <a:spLocks noChangeShapeType="1"/>
          </p:cNvSpPr>
          <p:nvPr/>
        </p:nvSpPr>
        <p:spPr bwMode="auto">
          <a:xfrm>
            <a:off x="6011863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1029" name="Shape 5"/>
          <p:cNvSpPr>
            <a:spLocks noChangeArrowheads="1"/>
          </p:cNvSpPr>
          <p:nvPr/>
        </p:nvSpPr>
        <p:spPr bwMode="auto">
          <a:xfrm>
            <a:off x="0" y="-26988"/>
            <a:ext cx="9144000" cy="763588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 anchor="ctr"/>
          <a:lstStyle/>
          <a:p>
            <a:pPr indent="449263" algn="ctr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4400">
                <a:solidFill>
                  <a:srgbClr val="FFFFFF"/>
                </a:solidFill>
                <a:latin typeface="Arial" charset="0"/>
                <a:sym typeface="Arial" charset="0"/>
              </a:rPr>
              <a:t>Образец заголовка</a:t>
            </a:r>
          </a:p>
        </p:txBody>
      </p:sp>
      <p:pic>
        <p:nvPicPr>
          <p:cNvPr id="1030" name="image1.png" descr="самара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44450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031" name="Shape 7"/>
          <p:cNvSpPr>
            <a:spLocks noGrp="1"/>
          </p:cNvSpPr>
          <p:nvPr>
            <p:ph type="sldNum" sz="quarter" idx="2"/>
          </p:nvPr>
        </p:nvSpPr>
        <p:spPr bwMode="auto">
          <a:xfrm>
            <a:off x="8172450" y="6634163"/>
            <a:ext cx="2476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none" lIns="45719" tIns="45720" rIns="45719" bIns="45720" numCol="1" anchor="b" anchorCtr="0" compatLnSpc="1">
            <a:prstTxWarp prst="textNoShape">
              <a:avLst/>
            </a:prstTxWarp>
            <a:spAutoFit/>
          </a:bodyPr>
          <a:lstStyle>
            <a:lvl1pPr hangingPunct="0">
              <a:defRPr sz="1000">
                <a:solidFill>
                  <a:srgbClr val="808080"/>
                </a:solidFill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6152034-394B-43E9-9E9B-B3829AA9F4AE}" type="slidenum">
              <a:rPr lang="ru-RU" altLang="ru-RU">
                <a:latin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latin typeface="Arial" charset="0"/>
              <a:sym typeface="Arial" charset="0"/>
            </a:endParaRPr>
          </a:p>
        </p:txBody>
      </p:sp>
      <p:sp>
        <p:nvSpPr>
          <p:cNvPr id="1032" name="Shape 8"/>
          <p:cNvSpPr>
            <a:spLocks noGrp="1"/>
          </p:cNvSpPr>
          <p:nvPr>
            <p:ph type="body" idx="1"/>
          </p:nvPr>
        </p:nvSpPr>
        <p:spPr bwMode="auto">
          <a:xfrm>
            <a:off x="468313" y="981075"/>
            <a:ext cx="8424862" cy="540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9" tIns="45720" rIns="45719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>
                <a:sym typeface="Arial" charset="0"/>
              </a:rPr>
              <a:t>Уровень текста 1</a:t>
            </a:r>
          </a:p>
          <a:p>
            <a:pPr lvl="1"/>
            <a:r>
              <a:rPr lang="ru-RU" altLang="ru-RU">
                <a:sym typeface="Arial" charset="0"/>
              </a:rPr>
              <a:t>Уровень текста 2</a:t>
            </a:r>
          </a:p>
          <a:p>
            <a:pPr lvl="2"/>
            <a:r>
              <a:rPr lang="ru-RU" altLang="ru-RU">
                <a:sym typeface="Arial" charset="0"/>
              </a:rPr>
              <a:t>Уровень текста 3</a:t>
            </a:r>
          </a:p>
          <a:p>
            <a:pPr lvl="3"/>
            <a:r>
              <a:rPr lang="ru-RU" altLang="ru-RU">
                <a:sym typeface="Arial" charset="0"/>
              </a:rPr>
              <a:t>Уровень текста 4</a:t>
            </a:r>
          </a:p>
          <a:p>
            <a:pPr lvl="4"/>
            <a:r>
              <a:rPr lang="ru-RU" altLang="ru-RU">
                <a:sym typeface="Arial" charset="0"/>
              </a:rPr>
              <a:t>Уровень текста 5</a:t>
            </a:r>
          </a:p>
        </p:txBody>
      </p:sp>
      <p:sp>
        <p:nvSpPr>
          <p:cNvPr id="1033" name="Shape 9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9" tIns="45720" rIns="45719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>
                <a:sym typeface="Arial" charset="0"/>
              </a:rP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06145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2" r:id="rId1"/>
    <p:sldLayoutId id="2147484206" r:id="rId2"/>
    <p:sldLayoutId id="2147484207" r:id="rId3"/>
    <p:sldLayoutId id="2147484208" r:id="rId4"/>
    <p:sldLayoutId id="2147484209" r:id="rId5"/>
  </p:sldLayoutIdLst>
  <p:transition spd="med"/>
  <p:hf hdr="0" ftr="0" dt="0"/>
  <p:txStyles>
    <p:titleStyle>
      <a:lvl1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1pPr>
      <a:lvl2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2pPr>
      <a:lvl3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3pPr>
      <a:lvl4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4pPr>
      <a:lvl5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5pPr>
      <a:lvl6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7pPr>
      <a:lvl8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8pPr>
      <a:lvl9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42900" indent="-342900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•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1pPr>
      <a:lvl2pPr marL="782638" indent="-325438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–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2pPr>
      <a:lvl3pPr marL="1219200" indent="-304800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•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3pPr>
      <a:lvl4pPr marL="1736725" indent="-365125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–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4pPr>
      <a:lvl5pPr marL="2193925" indent="-365125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»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5pPr>
      <a:lvl6pPr marL="26517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31089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35661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40233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0459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2" r:id="rId2"/>
    <p:sldLayoutId id="2147484213" r:id="rId3"/>
    <p:sldLayoutId id="2147484214" r:id="rId4"/>
    <p:sldLayoutId id="2147484215" r:id="rId5"/>
    <p:sldLayoutId id="2147484216" r:id="rId6"/>
    <p:sldLayoutId id="2147484217" r:id="rId7"/>
    <p:sldLayoutId id="2147484218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326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10" r:id="rId9"/>
    <p:sldLayoutId id="2147484311" r:id="rId10"/>
    <p:sldLayoutId id="2147484312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1918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3" r:id="rId9"/>
    <p:sldLayoutId id="2147484324" r:id="rId10"/>
    <p:sldLayoutId id="2147484325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hape 407"/>
          <p:cNvSpPr>
            <a:spLocks noGrp="1"/>
          </p:cNvSpPr>
          <p:nvPr>
            <p:ph type="title"/>
          </p:nvPr>
        </p:nvSpPr>
        <p:spPr>
          <a:xfrm>
            <a:off x="685800" y="1700213"/>
            <a:ext cx="8458200" cy="1470025"/>
          </a:xfrm>
        </p:spPr>
        <p:txBody>
          <a:bodyPr/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Реализация Послания Президента Российской Федерации Федеральному Собранию Российской Федерации</a:t>
            </a:r>
            <a:endParaRPr lang="ru-RU" sz="2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187624" y="6669360"/>
            <a:ext cx="6480720" cy="18864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95936" y="6080495"/>
            <a:ext cx="864096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itchFamily="18" charset="0"/>
                <a:ea typeface="Arial"/>
                <a:cs typeface="Times New Roman" pitchFamily="18" charset="0"/>
                <a:sym typeface="Arial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1892149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-44741"/>
            <a:ext cx="9162591" cy="81360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914400"/>
            <a:endParaRPr lang="ru-RU" sz="2000" dirty="0">
              <a:solidFill>
                <a:prstClr val="white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928528" y="6550223"/>
            <a:ext cx="182099" cy="307777"/>
          </a:xfrm>
          <a:noFill/>
          <a:ln>
            <a:noFill/>
          </a:ln>
        </p:spPr>
        <p:txBody>
          <a:bodyPr vert="horz" wrap="none" lIns="45719" tIns="45720" rIns="45719" bIns="45720" numCol="1" anchor="b" anchorCtr="0" compatLnSpc="1">
            <a:prstTxWarp prst="textNoShape">
              <a:avLst/>
            </a:prstTxWarp>
            <a:spAutoFit/>
          </a:bodyPr>
          <a:lstStyle/>
          <a:p>
            <a:pPr algn="l" hangingPunct="0"/>
            <a:fld id="{1330A2B7-F7FF-43CB-B705-8AD195453D6B}" type="slidenum">
              <a:rPr lang="ru-RU"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l" hangingPunct="0"/>
              <a:t>2</a:t>
            </a:fld>
            <a:endParaRPr lang="ru-RU" sz="14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949668"/>
              </p:ext>
            </p:extLst>
          </p:nvPr>
        </p:nvGraphicFramePr>
        <p:xfrm>
          <a:off x="107504" y="836711"/>
          <a:ext cx="8928990" cy="5616625"/>
        </p:xfrm>
        <a:graphic>
          <a:graphicData uri="http://schemas.openxmlformats.org/drawingml/2006/table">
            <a:tbl>
              <a:tblPr firstRow="1">
                <a:tableStyleId>{69CF1AB2-1976-4502-BF36-3FF5EA218861}</a:tableStyleId>
              </a:tblPr>
              <a:tblGrid>
                <a:gridCol w="218705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39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8391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352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9352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9352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09352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478381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 (руб.)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лучателей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ём средств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млн. руб.)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399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лан)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лан)</a:t>
                      </a:r>
                      <a:endParaRPr lang="ru-RU" sz="160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7746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выплата в связи с рождением (усыновлением) </a:t>
                      </a:r>
                      <a:r>
                        <a:rPr lang="ru-RU" sz="1300" b="1" dirty="0">
                          <a:solidFill>
                            <a:srgbClr val="008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вого</a:t>
                      </a:r>
                      <a:r>
                        <a:rPr lang="ru-RU" sz="1300" dirty="0">
                          <a:solidFill>
                            <a:srgbClr val="008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бенка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 714  </a:t>
                      </a:r>
                      <a:endParaRPr lang="ru-RU" sz="16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 000</a:t>
                      </a:r>
                      <a:endParaRPr lang="ru-RU" sz="16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22 827</a:t>
                      </a:r>
                      <a:endParaRPr lang="ru-RU" sz="16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 478</a:t>
                      </a:r>
                      <a:endParaRPr lang="ru-RU" sz="16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2 589,1</a:t>
                      </a:r>
                      <a:endParaRPr lang="ru-RU" sz="16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 547,6 </a:t>
                      </a:r>
                      <a:endParaRPr lang="ru-RU" sz="16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9683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выплата в связи с рождением </a:t>
                      </a:r>
                      <a:r>
                        <a:rPr lang="ru-RU" sz="1300" b="1" dirty="0">
                          <a:solidFill>
                            <a:srgbClr val="008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торого</a:t>
                      </a: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ребенка из средств материнского капитала (1,5 ВПМ, с 2020 года 2 ВПМ)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 714  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 000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767 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779  </a:t>
                      </a:r>
                      <a:b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1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факт на 20.04.2021)  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17,02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7,35</a:t>
                      </a:r>
                      <a:b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1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факт на 20.04.2021) 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7746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 на </a:t>
                      </a:r>
                      <a:r>
                        <a:rPr lang="ru-RU" sz="1300" b="1" dirty="0">
                          <a:solidFill>
                            <a:srgbClr val="008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ретьего</a:t>
                      </a: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300" b="1" dirty="0">
                          <a:solidFill>
                            <a:srgbClr val="008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 последующих</a:t>
                      </a: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детей  (величина СДД )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 868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656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 643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 716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 153,6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319,6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4649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 на ребенка </a:t>
                      </a:r>
                      <a:b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300" b="1" dirty="0">
                          <a:solidFill>
                            <a:srgbClr val="008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 3 до 7 </a:t>
                      </a:r>
                      <a:r>
                        <a:rPr lang="ru-RU" sz="13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ет включительно</a:t>
                      </a:r>
                      <a:endParaRPr lang="ru-RU" sz="13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40000"/>
                        <a:lumOff val="6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357</a:t>
                      </a:r>
                      <a:endParaRPr lang="ru-RU" sz="16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40000"/>
                        <a:lumOff val="6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500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50% от ВПМ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105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250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75% от ВПМ)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105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0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100% от ВПМ)</a:t>
                      </a:r>
                    </a:p>
                  </a:txBody>
                  <a:tcPr marL="60149" marR="60149" marT="0" marB="0" anchor="ctr">
                    <a:solidFill>
                      <a:schemeClr val="accent1">
                        <a:lumMod val="40000"/>
                        <a:lumOff val="6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4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 660</a:t>
                      </a:r>
                      <a:endParaRPr lang="ru-RU" sz="20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40000"/>
                        <a:lumOff val="6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105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105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 01.04.2021 подано</a:t>
                      </a:r>
                      <a:endParaRPr lang="ru-RU" sz="105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 459 </a:t>
                      </a: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явлений</a:t>
                      </a:r>
                      <a:endParaRPr lang="ru-RU" sz="105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40000"/>
                        <a:lumOff val="6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5 735,9</a:t>
                      </a:r>
                      <a:endParaRPr lang="ru-RU" sz="16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40000"/>
                        <a:lumOff val="60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ru-RU" sz="20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132,4</a:t>
                      </a:r>
                      <a:endParaRPr lang="ru-RU" sz="16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0149" marR="60149" marT="0" marB="0" anchor="ctr">
                    <a:solidFill>
                      <a:schemeClr val="accent1">
                        <a:lumMod val="40000"/>
                        <a:lumOff val="60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187624" y="6669360"/>
            <a:ext cx="6480720" cy="18864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" y="188531"/>
            <a:ext cx="91625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Основные ежемесячные денежные выплаты семьям с детьми  </a:t>
            </a:r>
          </a:p>
        </p:txBody>
      </p:sp>
    </p:spTree>
    <p:extLst>
      <p:ext uri="{BB962C8B-B14F-4D97-AF65-F5344CB8AC3E}">
        <p14:creationId xmlns:p14="http://schemas.microsoft.com/office/powerpoint/2010/main" val="27791633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-46215"/>
            <a:ext cx="9162591" cy="81360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914400"/>
            <a:endParaRPr lang="ru-RU" sz="200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" y="-46215"/>
            <a:ext cx="91625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Объем выплат семьям с детьми</a:t>
            </a:r>
          </a:p>
          <a:p>
            <a:pPr algn="ctr"/>
            <a:r>
              <a:rPr lang="ru-R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в зависимости от возраста и очередности рождения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84944"/>
              </p:ext>
            </p:extLst>
          </p:nvPr>
        </p:nvGraphicFramePr>
        <p:xfrm>
          <a:off x="20725" y="815484"/>
          <a:ext cx="9015770" cy="5584695"/>
        </p:xfrm>
        <a:graphic>
          <a:graphicData uri="http://schemas.openxmlformats.org/drawingml/2006/table">
            <a:tbl>
              <a:tblPr firstRow="1" bandRow="1"/>
              <a:tblGrid>
                <a:gridCol w="21384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751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026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4355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1557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44045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45327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Единовременно</a:t>
                      </a:r>
                      <a:r>
                        <a:rPr lang="ru-RU" sz="18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 при рождении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/>
                      </a:endParaRP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Ежемесячно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E3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83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8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2011">
                <a:tc vMerge="1">
                  <a:txBody>
                    <a:bodyPr/>
                    <a:lstStyle/>
                    <a:p>
                      <a:pPr algn="ctr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от 0 до 1,5 ле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от 1,5 до 3 ле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от 3 до 7 ле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от 8 до 16 (18) ле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3712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 </a:t>
                      </a:r>
                      <a:r>
                        <a:rPr lang="ru-RU" sz="2400" b="1" i="0" u="none" strike="noStrike" dirty="0">
                          <a:solidFill>
                            <a:srgbClr val="008000"/>
                          </a:solidFill>
                          <a:effectLst/>
                          <a:latin typeface="Times New Roman"/>
                        </a:rPr>
                        <a:t>первого</a:t>
                      </a:r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ребенка </a:t>
                      </a:r>
                    </a:p>
                  </a:txBody>
                  <a:tcPr marL="8513" marR="8513" marT="8513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5682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Сумма основных выпла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  <a:alpha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1 362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 576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38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 200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48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 943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0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875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Сумма всех возможных выпла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 831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CE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 469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 926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48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 179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5228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 </a:t>
                      </a:r>
                      <a:r>
                        <a:rPr lang="ru-RU" sz="2400" b="1" i="0" u="none" strike="noStrike" dirty="0">
                          <a:solidFill>
                            <a:srgbClr val="008000"/>
                          </a:solidFill>
                          <a:effectLst/>
                          <a:latin typeface="Times New Roman"/>
                        </a:rPr>
                        <a:t>второго</a:t>
                      </a:r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ребенка</a:t>
                      </a:r>
                    </a:p>
                  </a:txBody>
                  <a:tcPr marL="8513" marR="8513" marT="8513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5682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3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Сумма основных выпла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 480</a:t>
                      </a:r>
                      <a:r>
                        <a:rPr lang="ru-RU" sz="13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 666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 414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48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 498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0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736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0875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3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Сумма всех возможных выпла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06 912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 198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 683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F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 481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38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 533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5228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 </a:t>
                      </a:r>
                      <a:r>
                        <a:rPr lang="ru-RU" sz="2400" b="1" i="0" u="none" strike="noStrike" dirty="0">
                          <a:solidFill>
                            <a:srgbClr val="008000"/>
                          </a:solidFill>
                          <a:effectLst/>
                          <a:latin typeface="Times New Roman"/>
                        </a:rPr>
                        <a:t>третьего</a:t>
                      </a:r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ребенка</a:t>
                      </a:r>
                    </a:p>
                  </a:txBody>
                  <a:tcPr marL="8513" marR="8513" marT="8513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5682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Сумма основных выпла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 480</a:t>
                      </a:r>
                      <a:r>
                        <a:rPr lang="ru-RU" sz="13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 920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 705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 694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0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F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0875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Сумма всех возможных выпла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106 912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 618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C7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 134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 342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 748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25228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 </a:t>
                      </a:r>
                      <a:r>
                        <a:rPr lang="ru-RU" sz="2400" b="1" i="0" u="none" strike="noStrike" dirty="0">
                          <a:solidFill>
                            <a:srgbClr val="008000"/>
                          </a:solidFill>
                          <a:effectLst/>
                          <a:latin typeface="Times New Roman"/>
                        </a:rPr>
                        <a:t>четвертого и последующего </a:t>
                      </a:r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ебенка</a:t>
                      </a:r>
                    </a:p>
                  </a:txBody>
                  <a:tcPr marL="8513" marR="8513" marT="8513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5682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Сумма основных выпла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 886 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 920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0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 705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38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94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0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F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0875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/>
                        </a:rPr>
                        <a:t>Сумма всех возможных выплат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3 321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8 618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 134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1D07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 342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5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 748</a:t>
                      </a:r>
                    </a:p>
                  </a:txBody>
                  <a:tcPr marL="8513" marR="8513" marT="8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928528" y="6550223"/>
            <a:ext cx="182099" cy="307777"/>
          </a:xfrm>
          <a:noFill/>
          <a:ln>
            <a:noFill/>
          </a:ln>
        </p:spPr>
        <p:txBody>
          <a:bodyPr vert="horz" wrap="none" lIns="45719" tIns="45720" rIns="45719" bIns="45720" numCol="1" anchor="b" anchorCtr="0" compatLnSpc="1">
            <a:prstTxWarp prst="textNoShape">
              <a:avLst/>
            </a:prstTxWarp>
            <a:spAutoFit/>
          </a:bodyPr>
          <a:lstStyle/>
          <a:p>
            <a:pPr algn="l" hangingPunct="0"/>
            <a:fld id="{1330A2B7-F7FF-43CB-B705-8AD195453D6B}" type="slidenum">
              <a:rPr lang="ru-RU"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l" hangingPunct="0"/>
              <a:t>3</a:t>
            </a:fld>
            <a:endParaRPr lang="ru-RU" sz="14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5344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90047" y="6522416"/>
            <a:ext cx="616074" cy="365125"/>
          </a:xfrm>
        </p:spPr>
        <p:txBody>
          <a:bodyPr/>
          <a:lstStyle/>
          <a:p>
            <a:fld id="{1B08A040-E2F8-4AE1-9CAB-8CA74F18F663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4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-44741"/>
            <a:ext cx="9162591" cy="81360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914400"/>
            <a:endParaRPr lang="ru-RU" sz="2000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71600" y="67345"/>
            <a:ext cx="7848872" cy="657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  <a:latin typeface="Times New Roman" pitchFamily="18" charset="0"/>
              <a:ea typeface="Roboto Medium" panose="02000000000000000000" pitchFamily="2" charset="0"/>
              <a:cs typeface="Times New Roman" pitchFamily="18" charset="0"/>
            </a:endParaRPr>
          </a:p>
        </p:txBody>
      </p:sp>
      <p:graphicFrame>
        <p:nvGraphicFramePr>
          <p:cNvPr id="11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1191553"/>
              </p:ext>
            </p:extLst>
          </p:nvPr>
        </p:nvGraphicFramePr>
        <p:xfrm>
          <a:off x="301707" y="980729"/>
          <a:ext cx="8559176" cy="5261479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24964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57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2430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9642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487868">
                <a:tc>
                  <a:txBody>
                    <a:bodyPr/>
                    <a:lstStyle/>
                    <a:p>
                      <a:pPr algn="ctr"/>
                      <a:r>
                        <a:rPr lang="ru-RU" sz="2400" b="0" u="none" strike="noStrike" cap="none" spc="0" baseline="0" dirty="0">
                          <a:ln>
                            <a:noFill/>
                          </a:ln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Детям</a:t>
                      </a:r>
                    </a:p>
                    <a:p>
                      <a:pPr algn="ctr"/>
                      <a:r>
                        <a:rPr lang="ru-RU" sz="1800" b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в неполных семьях</a:t>
                      </a:r>
                    </a:p>
                    <a:p>
                      <a:pPr algn="ctr"/>
                      <a:r>
                        <a:rPr lang="ru-RU" sz="1800" b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от </a:t>
                      </a:r>
                      <a:r>
                        <a:rPr lang="ru-RU" sz="2400" b="1" u="none" strike="noStrike" cap="none" spc="0" baseline="0" dirty="0">
                          <a:ln>
                            <a:noFill/>
                          </a:ln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8 до 16</a:t>
                      </a:r>
                      <a:r>
                        <a:rPr lang="ru-RU" sz="2400" b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 </a:t>
                      </a:r>
                      <a:r>
                        <a:rPr lang="ru-RU" sz="1800" b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лет (вкл.)</a:t>
                      </a:r>
                      <a:endParaRPr lang="ru-RU" sz="1800" b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0" dirty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Женщинам</a:t>
                      </a:r>
                    </a:p>
                    <a:p>
                      <a:pPr algn="ctr"/>
                      <a:r>
                        <a:rPr lang="ru-RU" sz="1800" b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 трудной материальной ситуации, вставшим на учёт в ранние сроки </a:t>
                      </a:r>
                      <a:r>
                        <a:rPr lang="ru-RU" sz="2400" b="0" dirty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еременност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0" u="none" strike="noStrike" cap="none" spc="0" baseline="0" dirty="0">
                          <a:ln>
                            <a:noFill/>
                          </a:ln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Школьникам</a:t>
                      </a:r>
                      <a:r>
                        <a:rPr lang="ru-RU" sz="2000" b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 </a:t>
                      </a:r>
                    </a:p>
                    <a:p>
                      <a:pPr algn="ctr"/>
                      <a:r>
                        <a:rPr lang="ru-RU" sz="2000" b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и будущим первоклассникам</a:t>
                      </a:r>
                      <a:endParaRPr lang="ru-RU" sz="2000" b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2311"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4000" b="0" dirty="0">
                          <a:latin typeface="Times New Roman" pitchFamily="18" charset="0"/>
                          <a:cs typeface="Times New Roman" pitchFamily="18" charset="0"/>
                        </a:rPr>
                        <a:t>5 5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4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4000" b="0" dirty="0">
                          <a:latin typeface="Times New Roman" pitchFamily="18" charset="0"/>
                          <a:cs typeface="Times New Roman" pitchFamily="18" charset="0"/>
                        </a:rPr>
                        <a:t>6 35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4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4000" b="0" dirty="0">
                          <a:latin typeface="Times New Roman" pitchFamily="18" charset="0"/>
                          <a:cs typeface="Times New Roman" pitchFamily="18" charset="0"/>
                        </a:rPr>
                        <a:t>10 0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5789"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3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3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06367"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b="0" dirty="0">
                          <a:latin typeface="Times New Roman" pitchFamily="18" charset="0"/>
                          <a:cs typeface="Times New Roman" pitchFamily="18" charset="0"/>
                        </a:rPr>
                        <a:t>400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3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b="0" dirty="0"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3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200" b="0" dirty="0">
                          <a:latin typeface="Times New Roman" pitchFamily="18" charset="0"/>
                          <a:cs typeface="Times New Roman" pitchFamily="18" charset="0"/>
                        </a:rPr>
                        <a:t>1 000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229032"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действующая</a:t>
                      </a:r>
                    </a:p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региональная мера</a:t>
                      </a:r>
                    </a:p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выплата одиноким малоимущим матерям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3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действующая</a:t>
                      </a:r>
                    </a:p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региональная мера</a:t>
                      </a:r>
                    </a:p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latin typeface="Times New Roman" pitchFamily="18" charset="0"/>
                          <a:cs typeface="Times New Roman" pitchFamily="18" charset="0"/>
                          <a:sym typeface="Arial"/>
                        </a:rPr>
                        <a:t>пособие на питание малоимущим беременным женщинам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3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itchFamily="18" charset="0"/>
                          <a:cs typeface="Times New Roman" pitchFamily="18" charset="0"/>
                        </a:rPr>
                        <a:t>действующая</a:t>
                      </a:r>
                    </a:p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itchFamily="18" charset="0"/>
                          <a:cs typeface="Times New Roman" pitchFamily="18" charset="0"/>
                        </a:rPr>
                        <a:t>региональная мера</a:t>
                      </a:r>
                    </a:p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itchFamily="18" charset="0"/>
                          <a:cs typeface="Times New Roman" pitchFamily="18" charset="0"/>
                        </a:rPr>
                        <a:t>ежегодная выплата к началу учебного года отдельным категориям граждан</a:t>
                      </a:r>
                      <a:endParaRPr lang="ru-RU" sz="3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187624" y="6669360"/>
            <a:ext cx="6480720" cy="18864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18591" y="131226"/>
            <a:ext cx="91625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овые меры социальной поддержки семей с детьми, руб. </a:t>
            </a:r>
          </a:p>
        </p:txBody>
      </p:sp>
    </p:spTree>
    <p:extLst>
      <p:ext uri="{BB962C8B-B14F-4D97-AF65-F5344CB8AC3E}">
        <p14:creationId xmlns:p14="http://schemas.microsoft.com/office/powerpoint/2010/main" val="1909122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94504" y="6581117"/>
            <a:ext cx="616074" cy="365125"/>
          </a:xfrm>
        </p:spPr>
        <p:txBody>
          <a:bodyPr/>
          <a:lstStyle/>
          <a:p>
            <a:fld id="{1B08A040-E2F8-4AE1-9CAB-8CA74F18F663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5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9439" y="-44478"/>
            <a:ext cx="9162591" cy="81360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914400"/>
            <a:endParaRPr lang="ru-RU" sz="2000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23085" y="-428923"/>
            <a:ext cx="7848872" cy="657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  <a:latin typeface="Times New Roman" pitchFamily="18" charset="0"/>
              <a:ea typeface="Roboto Medium" panose="02000000000000000000" pitchFamily="2" charset="0"/>
              <a:cs typeface="Times New Roman" pitchFamily="18" charset="0"/>
            </a:endParaRPr>
          </a:p>
        </p:txBody>
      </p:sp>
      <p:sp>
        <p:nvSpPr>
          <p:cNvPr id="44" name="Заголовок 1"/>
          <p:cNvSpPr txBox="1">
            <a:spLocks/>
          </p:cNvSpPr>
          <p:nvPr/>
        </p:nvSpPr>
        <p:spPr>
          <a:xfrm>
            <a:off x="664977" y="-25162"/>
            <a:ext cx="8479023" cy="818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Roboto Condensed"/>
              <a:buNone/>
              <a:defRPr sz="2000" b="1" i="0" u="none" strike="noStrike" cap="none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pPr algn="ctr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бесплатных и льготных путевок</a:t>
            </a:r>
          </a:p>
          <a:p>
            <a:pPr algn="ctr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детские оздоровительные лагеря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127020" y="1843279"/>
            <a:ext cx="2211533" cy="25384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- для детей, находящих в трудной жизненной ситуации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- бесплатно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27017" y="5105131"/>
            <a:ext cx="4579348" cy="11429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Для всех детей Самарской области бесплатно при наличии медицинских показаний</a:t>
            </a:r>
          </a:p>
        </p:txBody>
      </p:sp>
      <p:sp>
        <p:nvSpPr>
          <p:cNvPr id="47" name="TextBox 4"/>
          <p:cNvSpPr txBox="1"/>
          <p:nvPr/>
        </p:nvSpPr>
        <p:spPr>
          <a:xfrm>
            <a:off x="4956625" y="1050449"/>
            <a:ext cx="3837879" cy="1855251"/>
          </a:xfrm>
          <a:prstGeom prst="rect">
            <a:avLst/>
          </a:prstGeom>
          <a:solidFill>
            <a:srgbClr val="D89F39">
              <a:lumMod val="20000"/>
              <a:lumOff val="80000"/>
            </a:srgbClr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В 2021 году на организацию отдыха и оздоровления детей предусмотрено           632,77 млн. рублей, в том числе                  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255,87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млн. рублей на детей, находящихся в ТЖС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127017" y="1079620"/>
            <a:ext cx="4579348" cy="593124"/>
          </a:xfrm>
          <a:prstGeom prst="roundRect">
            <a:avLst/>
          </a:prstGeom>
          <a:solidFill>
            <a:srgbClr val="D89F39">
              <a:lumMod val="40000"/>
              <a:lumOff val="60000"/>
            </a:srgbClr>
          </a:solidFill>
          <a:ln w="25400" cap="flat" cmpd="sng" algn="ctr">
            <a:solidFill>
              <a:srgbClr val="3A81BA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В летний период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127017" y="4465787"/>
            <a:ext cx="4579348" cy="593124"/>
          </a:xfrm>
          <a:prstGeom prst="roundRect">
            <a:avLst/>
          </a:prstGeom>
          <a:solidFill>
            <a:srgbClr val="D89F39">
              <a:lumMod val="40000"/>
              <a:lumOff val="60000"/>
            </a:srgbClr>
          </a:solidFill>
          <a:ln w="25400" cap="flat" cmpd="sng" algn="ctr">
            <a:solidFill>
              <a:srgbClr val="3A81BA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В осенний, зимний и весенний период 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2422166" y="1850267"/>
            <a:ext cx="2294753" cy="25443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-для всех детей Самарской области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- с частичной оплатой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40 – 50% 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Arial"/>
              </a:rPr>
              <a:t>от стоимости путевки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187624" y="6669360"/>
            <a:ext cx="6480720" cy="18864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693395"/>
              </p:ext>
            </p:extLst>
          </p:nvPr>
        </p:nvGraphicFramePr>
        <p:xfrm>
          <a:off x="4956625" y="3157457"/>
          <a:ext cx="4023041" cy="28759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67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903647">
                <a:tc>
                  <a:txBody>
                    <a:bodyPr/>
                    <a:lstStyle/>
                    <a:p>
                      <a:pPr algn="l" fontAlgn="b"/>
                      <a:endParaRPr lang="ru-RU" sz="1800" b="0" i="0" u="none" strike="noStrike" dirty="0">
                        <a:ln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одительский взнос </a:t>
                      </a:r>
                      <a:endParaRPr lang="ru-RU" sz="18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ластной  бюджет</a:t>
                      </a:r>
                      <a:endParaRPr lang="ru-RU" sz="18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86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городный</a:t>
                      </a:r>
                      <a:b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лагерь</a:t>
                      </a:r>
                      <a:endParaRPr lang="ru-RU" sz="18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 6 853</a:t>
                      </a:r>
                      <a:b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 8 566 руб.</a:t>
                      </a:r>
                      <a:endParaRPr lang="ru-RU" sz="18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279 руб.</a:t>
                      </a:r>
                      <a:endParaRPr lang="ru-RU" sz="18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8612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анаторный</a:t>
                      </a:r>
                      <a:b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лагерь</a:t>
                      </a:r>
                      <a:endParaRPr lang="ru-RU" sz="18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 906 руб.</a:t>
                      </a:r>
                      <a:endParaRPr lang="ru-RU" sz="18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 906 руб.</a:t>
                      </a:r>
                      <a:endParaRPr lang="ru-RU" sz="18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52" name="Выгнутая вверх стрелка 51"/>
          <p:cNvSpPr/>
          <p:nvPr/>
        </p:nvSpPr>
        <p:spPr>
          <a:xfrm>
            <a:off x="4337526" y="2857340"/>
            <a:ext cx="1019990" cy="585447"/>
          </a:xfrm>
          <a:prstGeom prst="curvedDownArrow">
            <a:avLst/>
          </a:prstGeom>
          <a:solidFill>
            <a:srgbClr val="3A81BA"/>
          </a:solidFill>
          <a:ln w="25400" cap="flat" cmpd="sng" algn="ctr">
            <a:solidFill>
              <a:srgbClr val="D89F39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5008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Рисунок 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8699" y="4871922"/>
            <a:ext cx="1484811" cy="1484811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97" y="3767871"/>
            <a:ext cx="713302" cy="164194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817579" y="6498666"/>
            <a:ext cx="616074" cy="365125"/>
          </a:xfrm>
        </p:spPr>
        <p:txBody>
          <a:bodyPr/>
          <a:lstStyle/>
          <a:p>
            <a:fld id="{1B08A040-E2F8-4AE1-9CAB-8CA74F18F663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6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42051"/>
            <a:ext cx="9143999" cy="830997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доставление ежемесячной денежной выплаты </a:t>
            </a:r>
            <a:r>
              <a:rPr lang="en-US" sz="2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бенка</a:t>
            </a:r>
            <a:r>
              <a:rPr lang="en-US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в </a:t>
            </a:r>
            <a:r>
              <a:rPr lang="en-US" sz="2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озрасте</a:t>
            </a:r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от 3 до 7 лет</a:t>
            </a:r>
            <a:r>
              <a:rPr lang="en-US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ключительно</a:t>
            </a:r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71600" y="67345"/>
            <a:ext cx="7848872" cy="657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  <a:latin typeface="Times New Roman" pitchFamily="18" charset="0"/>
              <a:ea typeface="Roboto Medium" panose="02000000000000000000" pitchFamily="2" charset="0"/>
              <a:cs typeface="Times New Roman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187624" y="6669360"/>
            <a:ext cx="6480720" cy="18864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377352" y="980728"/>
            <a:ext cx="8703193" cy="5307968"/>
            <a:chOff x="1169026" y="835515"/>
            <a:chExt cx="10989132" cy="4534097"/>
          </a:xfrm>
        </p:grpSpPr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xmlns="" id="{968A5DBD-E635-1F45-B213-3363FFCCB87B}"/>
                </a:ext>
              </a:extLst>
            </p:cNvPr>
            <p:cNvSpPr/>
            <p:nvPr/>
          </p:nvSpPr>
          <p:spPr>
            <a:xfrm>
              <a:off x="4040993" y="835515"/>
              <a:ext cx="1495638" cy="946713"/>
            </a:xfrm>
            <a:prstGeom prst="rect">
              <a:avLst/>
            </a:prstGeom>
            <a:noFill/>
            <a:ln w="25400">
              <a:solidFill>
                <a:srgbClr val="0183FF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2400" b="1" dirty="0">
                  <a:solidFill>
                    <a:srgbClr val="0183FF"/>
                  </a:solidFill>
                </a:rPr>
                <a:t>МФЦ</a:t>
              </a:r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xmlns="" id="{968A5DBD-E635-1F45-B213-3363FFCCB87B}"/>
                </a:ext>
              </a:extLst>
            </p:cNvPr>
            <p:cNvSpPr/>
            <p:nvPr/>
          </p:nvSpPr>
          <p:spPr>
            <a:xfrm>
              <a:off x="8600425" y="1337946"/>
              <a:ext cx="1554227" cy="1074183"/>
            </a:xfrm>
            <a:prstGeom prst="rect">
              <a:avLst/>
            </a:prstGeom>
            <a:noFill/>
            <a:ln w="25400">
              <a:solidFill>
                <a:srgbClr val="0183FF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 b="1" dirty="0">
                <a:solidFill>
                  <a:srgbClr val="0183FF"/>
                </a:solidFill>
              </a:endParaRPr>
            </a:p>
            <a:p>
              <a:pPr algn="ctr"/>
              <a:r>
                <a:rPr lang="ru-RU" sz="2400" b="1" dirty="0">
                  <a:solidFill>
                    <a:srgbClr val="0183FF"/>
                  </a:solidFill>
                </a:rPr>
                <a:t>УСЗН</a:t>
              </a:r>
              <a:r>
                <a:rPr lang="en-US" sz="2400" b="1" dirty="0">
                  <a:solidFill>
                    <a:srgbClr val="0183FF"/>
                  </a:solidFill>
                </a:rPr>
                <a:t> </a:t>
              </a:r>
              <a:r>
                <a:rPr lang="ru-RU" sz="1400" b="1" dirty="0">
                  <a:solidFill>
                    <a:schemeClr val="accent6">
                      <a:lumMod val="75000"/>
                    </a:schemeClr>
                  </a:solidFill>
                </a:rPr>
                <a:t>(принятие решения о назначении)</a:t>
              </a:r>
              <a:endParaRPr lang="ru-RU" sz="1400" dirty="0">
                <a:solidFill>
                  <a:schemeClr val="accent6">
                    <a:lumMod val="75000"/>
                  </a:schemeClr>
                </a:solidFill>
              </a:endParaRPr>
            </a:p>
            <a:p>
              <a:pPr algn="ctr"/>
              <a:endParaRPr lang="ru-RU" sz="2400" b="1" dirty="0">
                <a:solidFill>
                  <a:srgbClr val="0183FF"/>
                </a:solidFill>
              </a:endParaRPr>
            </a:p>
          </p:txBody>
        </p:sp>
        <p:cxnSp>
          <p:nvCxnSpPr>
            <p:cNvPr id="33" name="Прямая со стрелкой 32"/>
            <p:cNvCxnSpPr/>
            <p:nvPr/>
          </p:nvCxnSpPr>
          <p:spPr>
            <a:xfrm flipV="1">
              <a:off x="1409003" y="1308871"/>
              <a:ext cx="2631989" cy="1835262"/>
            </a:xfrm>
            <a:prstGeom prst="straightConnector1">
              <a:avLst/>
            </a:prstGeom>
            <a:ln w="25400">
              <a:solidFill>
                <a:srgbClr val="0183FF"/>
              </a:solidFill>
              <a:prstDash val="solid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 rot="18881619">
              <a:off x="1888938" y="1627230"/>
              <a:ext cx="1471630" cy="6189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rgbClr val="0070C0"/>
                  </a:solidFill>
                </a:rPr>
                <a:t>Заявление (лично)</a:t>
              </a:r>
              <a:r>
                <a:rPr lang="en-US" sz="1200" dirty="0">
                  <a:solidFill>
                    <a:srgbClr val="0070C0"/>
                  </a:solidFill>
                </a:rPr>
                <a:t>, </a:t>
              </a:r>
              <a:r>
                <a:rPr lang="ru-RU" sz="1200" dirty="0">
                  <a:solidFill>
                    <a:srgbClr val="0070C0"/>
                  </a:solidFill>
                </a:rPr>
                <a:t/>
              </a:r>
              <a:br>
                <a:rPr lang="ru-RU" sz="1200" dirty="0">
                  <a:solidFill>
                    <a:srgbClr val="0070C0"/>
                  </a:solidFill>
                </a:rPr>
              </a:br>
              <a:r>
                <a:rPr lang="ru-RU" sz="1200" dirty="0">
                  <a:solidFill>
                    <a:schemeClr val="accent6">
                      <a:lumMod val="75000"/>
                    </a:schemeClr>
                  </a:solidFill>
                </a:rPr>
                <a:t>результат оказания</a:t>
              </a:r>
            </a:p>
          </p:txBody>
        </p:sp>
        <p:cxnSp>
          <p:nvCxnSpPr>
            <p:cNvPr id="35" name="Прямая со стрелкой 34"/>
            <p:cNvCxnSpPr/>
            <p:nvPr/>
          </p:nvCxnSpPr>
          <p:spPr>
            <a:xfrm flipV="1">
              <a:off x="1513582" y="1820090"/>
              <a:ext cx="7073069" cy="1624483"/>
            </a:xfrm>
            <a:prstGeom prst="straightConnector1">
              <a:avLst/>
            </a:prstGeom>
            <a:ln w="25400">
              <a:solidFill>
                <a:srgbClr val="0183FF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 rot="20536551">
              <a:off x="1851296" y="2364884"/>
              <a:ext cx="6242545" cy="251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rgbClr val="0070C0"/>
                  </a:solidFill>
                </a:rPr>
                <a:t>Заявление (лично), </a:t>
              </a:r>
              <a:r>
                <a:rPr lang="ru-RU" sz="1200" dirty="0">
                  <a:solidFill>
                    <a:schemeClr val="accent6">
                      <a:lumMod val="75000"/>
                    </a:schemeClr>
                  </a:solidFill>
                </a:rPr>
                <a:t>результат оказания услуги ( в случае отказа) </a:t>
              </a:r>
            </a:p>
          </p:txBody>
        </p:sp>
        <p:cxnSp>
          <p:nvCxnSpPr>
            <p:cNvPr id="37" name="Прямая со стрелкой 36"/>
            <p:cNvCxnSpPr/>
            <p:nvPr/>
          </p:nvCxnSpPr>
          <p:spPr>
            <a:xfrm>
              <a:off x="1558543" y="3655352"/>
              <a:ext cx="2724766" cy="828303"/>
            </a:xfrm>
            <a:prstGeom prst="straightConnector1">
              <a:avLst/>
            </a:prstGeom>
            <a:ln w="25400">
              <a:solidFill>
                <a:srgbClr val="0183FF"/>
              </a:solidFill>
              <a:prstDash val="solid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 rot="1434203">
              <a:off x="1169026" y="4088138"/>
              <a:ext cx="3433768" cy="394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solidFill>
                    <a:srgbClr val="0070C0"/>
                  </a:solidFill>
                </a:rPr>
                <a:t>Заявление, </a:t>
              </a:r>
              <a:r>
                <a:rPr lang="ru-RU" sz="1200" dirty="0">
                  <a:solidFill>
                    <a:schemeClr val="accent6">
                      <a:lumMod val="75000"/>
                    </a:schemeClr>
                  </a:solidFill>
                </a:rPr>
                <a:t>результат оказания </a:t>
              </a:r>
              <a:r>
                <a:rPr lang="en-US" sz="1200" dirty="0">
                  <a:solidFill>
                    <a:srgbClr val="0070C0"/>
                  </a:solidFill>
                </a:rPr>
                <a:t/>
              </a:r>
              <a:br>
                <a:rPr lang="en-US" sz="1200" dirty="0">
                  <a:solidFill>
                    <a:srgbClr val="0070C0"/>
                  </a:solidFill>
                </a:rPr>
              </a:br>
              <a:r>
                <a:rPr lang="ru-RU" sz="1200" dirty="0">
                  <a:solidFill>
                    <a:srgbClr val="0070C0"/>
                  </a:solidFill>
                </a:rPr>
                <a:t>(в электронном виде)</a:t>
              </a:r>
            </a:p>
          </p:txBody>
        </p:sp>
        <p:cxnSp>
          <p:nvCxnSpPr>
            <p:cNvPr id="39" name="Прямая со стрелкой 38"/>
            <p:cNvCxnSpPr/>
            <p:nvPr/>
          </p:nvCxnSpPr>
          <p:spPr>
            <a:xfrm>
              <a:off x="5520940" y="1580680"/>
              <a:ext cx="3063794" cy="65903"/>
            </a:xfrm>
            <a:prstGeom prst="straightConnector1">
              <a:avLst/>
            </a:prstGeom>
            <a:ln w="25400">
              <a:solidFill>
                <a:srgbClr val="0183FF"/>
              </a:solidFill>
              <a:prstDash val="solid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/>
            <p:cNvSpPr txBox="1"/>
            <p:nvPr/>
          </p:nvSpPr>
          <p:spPr>
            <a:xfrm rot="2955295">
              <a:off x="10148602" y="1888195"/>
              <a:ext cx="1583930" cy="330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solidFill>
                    <a:srgbClr val="00B050"/>
                  </a:solidFill>
                </a:rPr>
                <a:t>Электронные реестры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 rot="169176">
              <a:off x="5596799" y="1196385"/>
              <a:ext cx="2968962" cy="368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solidFill>
                    <a:srgbClr val="0070C0"/>
                  </a:solidFill>
                </a:rPr>
                <a:t>Заявление, </a:t>
              </a:r>
              <a:r>
                <a:rPr lang="ru-RU" sz="1100" dirty="0">
                  <a:solidFill>
                    <a:schemeClr val="accent6">
                      <a:lumMod val="75000"/>
                    </a:schemeClr>
                  </a:solidFill>
                </a:rPr>
                <a:t>результат оказания услуги</a:t>
              </a:r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C7DE68CA-272B-4F40-892C-EEC8B2FD7DEC}"/>
                </a:ext>
              </a:extLst>
            </p:cNvPr>
            <p:cNvSpPr/>
            <p:nvPr/>
          </p:nvSpPr>
          <p:spPr>
            <a:xfrm>
              <a:off x="10103589" y="2607003"/>
              <a:ext cx="2054569" cy="758725"/>
            </a:xfrm>
            <a:prstGeom prst="rect">
              <a:avLst/>
            </a:prstGeom>
            <a:noFill/>
            <a:ln w="2540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8" tIns="45718" rIns="45718" bIns="45718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08000" algn="ctr"/>
              <a:r>
                <a:rPr lang="ru-RU" sz="1300" b="1" dirty="0">
                  <a:solidFill>
                    <a:srgbClr val="00B050"/>
                  </a:solidFill>
                </a:rPr>
                <a:t>Выплата (кредитные организации, УФПС)</a:t>
              </a:r>
              <a:endParaRPr lang="ru-RU" sz="1300" dirty="0">
                <a:solidFill>
                  <a:srgbClr val="00B050"/>
                </a:solidFill>
              </a:endParaRPr>
            </a:p>
          </p:txBody>
        </p:sp>
        <p:sp>
          <p:nvSpPr>
            <p:cNvPr id="43" name="Овал 42"/>
            <p:cNvSpPr/>
            <p:nvPr/>
          </p:nvSpPr>
          <p:spPr>
            <a:xfrm>
              <a:off x="7758014" y="3597698"/>
              <a:ext cx="2882826" cy="1771914"/>
            </a:xfrm>
            <a:prstGeom prst="ellipse">
              <a:avLst/>
            </a:prstGeom>
            <a:noFill/>
            <a:ln w="254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866317" y="3991950"/>
              <a:ext cx="2774523" cy="9990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7030A0"/>
                  </a:solidFill>
                </a:rPr>
                <a:t>Межведомственное </a:t>
              </a:r>
              <a:endParaRPr lang="en-US" sz="1400" b="1" dirty="0">
                <a:solidFill>
                  <a:srgbClr val="7030A0"/>
                </a:solidFill>
              </a:endParaRPr>
            </a:p>
            <a:p>
              <a:pPr algn="ctr"/>
              <a:r>
                <a:rPr lang="ru-RU" sz="1400" b="1" dirty="0">
                  <a:solidFill>
                    <a:srgbClr val="7030A0"/>
                  </a:solidFill>
                </a:rPr>
                <a:t>взаимодействие</a:t>
              </a:r>
              <a:r>
                <a:rPr lang="en-US" sz="1400" b="1" dirty="0">
                  <a:solidFill>
                    <a:srgbClr val="7030A0"/>
                  </a:solidFill>
                </a:rPr>
                <a:t/>
              </a:r>
              <a:br>
                <a:rPr lang="en-US" sz="1400" b="1" dirty="0">
                  <a:solidFill>
                    <a:srgbClr val="7030A0"/>
                  </a:solidFill>
                </a:rPr>
              </a:br>
              <a:r>
                <a:rPr lang="en-US" sz="1400" b="1" dirty="0">
                  <a:solidFill>
                    <a:srgbClr val="7030A0"/>
                  </a:solidFill>
                </a:rPr>
                <a:t>(</a:t>
              </a:r>
              <a:r>
                <a:rPr lang="ru-RU" sz="1400" b="1" dirty="0">
                  <a:solidFill>
                    <a:srgbClr val="7030A0"/>
                  </a:solidFill>
                </a:rPr>
                <a:t>ЕГР ЗАГС, ЕГИССО, ФНС, ПФ, МВД, ФСИН</a:t>
              </a:r>
              <a:r>
                <a:rPr lang="en-US" sz="1400" b="1" dirty="0">
                  <a:solidFill>
                    <a:srgbClr val="7030A0"/>
                  </a:solidFill>
                </a:rPr>
                <a:t>, </a:t>
              </a:r>
              <a:r>
                <a:rPr lang="ru-RU" sz="1400" b="1" dirty="0">
                  <a:solidFill>
                    <a:srgbClr val="7030A0"/>
                  </a:solidFill>
                </a:rPr>
                <a:t>опека)</a:t>
              </a:r>
            </a:p>
          </p:txBody>
        </p:sp>
        <p:cxnSp>
          <p:nvCxnSpPr>
            <p:cNvPr id="45" name="Прямая со стрелкой 44"/>
            <p:cNvCxnSpPr>
              <a:stCxn id="43" idx="0"/>
            </p:cNvCxnSpPr>
            <p:nvPr/>
          </p:nvCxnSpPr>
          <p:spPr>
            <a:xfrm flipV="1">
              <a:off x="9199427" y="2412129"/>
              <a:ext cx="0" cy="1185569"/>
            </a:xfrm>
            <a:prstGeom prst="straightConnector1">
              <a:avLst/>
            </a:prstGeom>
            <a:ln w="25400">
              <a:solidFill>
                <a:srgbClr val="7030A0"/>
              </a:solidFill>
              <a:prstDash val="solid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 стрелкой 45"/>
            <p:cNvCxnSpPr/>
            <p:nvPr/>
          </p:nvCxnSpPr>
          <p:spPr>
            <a:xfrm flipV="1">
              <a:off x="5630517" y="2259813"/>
              <a:ext cx="2964843" cy="2081752"/>
            </a:xfrm>
            <a:prstGeom prst="straightConnector1">
              <a:avLst/>
            </a:prstGeom>
            <a:ln w="25400">
              <a:solidFill>
                <a:srgbClr val="0183FF"/>
              </a:solidFill>
              <a:prstDash val="solid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/>
            <p:cNvSpPr txBox="1"/>
            <p:nvPr/>
          </p:nvSpPr>
          <p:spPr>
            <a:xfrm rot="18877366">
              <a:off x="5569652" y="2989798"/>
              <a:ext cx="2609827" cy="349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rgbClr val="0070C0"/>
                  </a:solidFill>
                </a:rPr>
                <a:t>Заявление, </a:t>
              </a:r>
              <a:r>
                <a:rPr lang="ru-RU" sz="1200" dirty="0">
                  <a:solidFill>
                    <a:schemeClr val="accent6">
                      <a:lumMod val="75000"/>
                    </a:schemeClr>
                  </a:solidFill>
                </a:rPr>
                <a:t>результат оказания услуги</a:t>
              </a:r>
            </a:p>
          </p:txBody>
        </p:sp>
        <p:cxnSp>
          <p:nvCxnSpPr>
            <p:cNvPr id="48" name="Прямая со стрелкой 47"/>
            <p:cNvCxnSpPr>
              <a:stCxn id="32" idx="3"/>
              <a:endCxn id="42" idx="0"/>
            </p:cNvCxnSpPr>
            <p:nvPr/>
          </p:nvCxnSpPr>
          <p:spPr>
            <a:xfrm>
              <a:off x="10154653" y="1875038"/>
              <a:ext cx="976221" cy="731965"/>
            </a:xfrm>
            <a:prstGeom prst="straightConnector1">
              <a:avLst/>
            </a:prstGeom>
            <a:ln w="25400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8533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835963" y="6492875"/>
            <a:ext cx="616074" cy="365125"/>
          </a:xfrm>
        </p:spPr>
        <p:txBody>
          <a:bodyPr/>
          <a:lstStyle/>
          <a:p>
            <a:fld id="{1B08A040-E2F8-4AE1-9CAB-8CA74F18F663}" type="slidenum">
              <a:rPr lang="ru-RU" sz="14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7</a:t>
            </a:fld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-44741"/>
            <a:ext cx="9162591" cy="81360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914400"/>
            <a:endParaRPr lang="ru-RU" sz="2000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71600" y="67345"/>
            <a:ext cx="7848872" cy="657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  <a:latin typeface="Times New Roman" pitchFamily="18" charset="0"/>
              <a:ea typeface="Roboto Medium" panose="02000000000000000000" pitchFamily="2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87624" y="6669360"/>
            <a:ext cx="6480720" cy="18864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46374" y="2499006"/>
            <a:ext cx="21624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0070C0"/>
                </a:solidFill>
              </a:rPr>
              <a:t>Информирование о положенных мерах при различных жизненных ситуациях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589" y="1442512"/>
            <a:ext cx="3005125" cy="950371"/>
          </a:xfrm>
          <a:prstGeom prst="rect">
            <a:avLst/>
          </a:prstGeom>
        </p:spPr>
      </p:pic>
      <p:sp>
        <p:nvSpPr>
          <p:cNvPr id="12" name="Стрелка вправо с вырезом 11"/>
          <p:cNvSpPr/>
          <p:nvPr/>
        </p:nvSpPr>
        <p:spPr>
          <a:xfrm>
            <a:off x="6703204" y="1621556"/>
            <a:ext cx="1493629" cy="592282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6056" y="1571913"/>
            <a:ext cx="713302" cy="164194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85" y="1270277"/>
            <a:ext cx="1228729" cy="1228729"/>
          </a:xfrm>
          <a:prstGeom prst="rect">
            <a:avLst/>
          </a:prstGeom>
        </p:spPr>
      </p:pic>
      <p:sp>
        <p:nvSpPr>
          <p:cNvPr id="15" name="Двойная стрелка влево/вправо 14"/>
          <p:cNvSpPr/>
          <p:nvPr/>
        </p:nvSpPr>
        <p:spPr>
          <a:xfrm>
            <a:off x="1473028" y="1626265"/>
            <a:ext cx="1720451" cy="54690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6" name="Группа 15"/>
          <p:cNvGrpSpPr/>
          <p:nvPr/>
        </p:nvGrpSpPr>
        <p:grpSpPr>
          <a:xfrm>
            <a:off x="3592381" y="4162146"/>
            <a:ext cx="3169578" cy="2211418"/>
            <a:chOff x="770682" y="3789040"/>
            <a:chExt cx="3401236" cy="2373046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1312988" y="3837030"/>
              <a:ext cx="2362836" cy="2325056"/>
              <a:chOff x="-792161" y="3069402"/>
              <a:chExt cx="3475038" cy="3419475"/>
            </a:xfrm>
          </p:grpSpPr>
          <p:sp>
            <p:nvSpPr>
              <p:cNvPr id="105" name="Freeform 2"/>
              <p:cNvSpPr>
                <a:spLocks noChangeArrowheads="1"/>
              </p:cNvSpPr>
              <p:nvPr/>
            </p:nvSpPr>
            <p:spPr bwMode="auto">
              <a:xfrm>
                <a:off x="-766761" y="3094802"/>
                <a:ext cx="3427413" cy="3381375"/>
              </a:xfrm>
              <a:custGeom>
                <a:avLst/>
                <a:gdLst>
                  <a:gd name="T0" fmla="*/ 102 w 9525"/>
                  <a:gd name="T1" fmla="*/ 23 h 9398"/>
                  <a:gd name="T2" fmla="*/ 80 w 9525"/>
                  <a:gd name="T3" fmla="*/ 6 h 9398"/>
                  <a:gd name="T4" fmla="*/ 46 w 9525"/>
                  <a:gd name="T5" fmla="*/ 0 h 9398"/>
                  <a:gd name="T6" fmla="*/ 0 w 9525"/>
                  <a:gd name="T7" fmla="*/ 55 h 9398"/>
                  <a:gd name="T8" fmla="*/ 36 w 9525"/>
                  <a:gd name="T9" fmla="*/ 105 h 9398"/>
                  <a:gd name="T10" fmla="*/ 68 w 9525"/>
                  <a:gd name="T11" fmla="*/ 109 h 9398"/>
                  <a:gd name="T12" fmla="*/ 111 w 9525"/>
                  <a:gd name="T13" fmla="*/ 59 h 9398"/>
                  <a:gd name="T14" fmla="*/ 45 w 9525"/>
                  <a:gd name="T15" fmla="*/ 3 h 9398"/>
                  <a:gd name="T16" fmla="*/ 37 w 9525"/>
                  <a:gd name="T17" fmla="*/ 97 h 9398"/>
                  <a:gd name="T18" fmla="*/ 7 w 9525"/>
                  <a:gd name="T19" fmla="*/ 70 h 9398"/>
                  <a:gd name="T20" fmla="*/ 58 w 9525"/>
                  <a:gd name="T21" fmla="*/ 16 h 9398"/>
                  <a:gd name="T22" fmla="*/ 87 w 9525"/>
                  <a:gd name="T23" fmla="*/ 85 h 9398"/>
                  <a:gd name="T24" fmla="*/ 77 w 9525"/>
                  <a:gd name="T25" fmla="*/ 19 h 9398"/>
                  <a:gd name="T26" fmla="*/ 37 w 9525"/>
                  <a:gd name="T27" fmla="*/ 97 h 9398"/>
                  <a:gd name="T28" fmla="*/ 30 w 9525"/>
                  <a:gd name="T29" fmla="*/ 69 h 9398"/>
                  <a:gd name="T30" fmla="*/ 40 w 9525"/>
                  <a:gd name="T31" fmla="*/ 85 h 9398"/>
                  <a:gd name="T32" fmla="*/ 67 w 9525"/>
                  <a:gd name="T33" fmla="*/ 63 h 9398"/>
                  <a:gd name="T34" fmla="*/ 65 w 9525"/>
                  <a:gd name="T35" fmla="*/ 35 h 9398"/>
                  <a:gd name="T36" fmla="*/ 73 w 9525"/>
                  <a:gd name="T37" fmla="*/ 49 h 9398"/>
                  <a:gd name="T38" fmla="*/ 73 w 9525"/>
                  <a:gd name="T39" fmla="*/ 48 h 9398"/>
                  <a:gd name="T40" fmla="*/ 65 w 9525"/>
                  <a:gd name="T41" fmla="*/ 35 h 9398"/>
                  <a:gd name="T42" fmla="*/ 40 w 9525"/>
                  <a:gd name="T43" fmla="*/ 44 h 9398"/>
                  <a:gd name="T44" fmla="*/ 48 w 9525"/>
                  <a:gd name="T45" fmla="*/ 50 h 9398"/>
                  <a:gd name="T46" fmla="*/ 41 w 9525"/>
                  <a:gd name="T47" fmla="*/ 85 h 9398"/>
                  <a:gd name="T48" fmla="*/ 80 w 9525"/>
                  <a:gd name="T49" fmla="*/ 59 h 9398"/>
                  <a:gd name="T50" fmla="*/ 89 w 9525"/>
                  <a:gd name="T51" fmla="*/ 43 h 9398"/>
                  <a:gd name="T52" fmla="*/ 52 w 9525"/>
                  <a:gd name="T53" fmla="*/ 26 h 9398"/>
                  <a:gd name="T54" fmla="*/ 23 w 9525"/>
                  <a:gd name="T55" fmla="*/ 31 h 9398"/>
                  <a:gd name="T56" fmla="*/ 29 w 9525"/>
                  <a:gd name="T57" fmla="*/ 69 h 9398"/>
                  <a:gd name="T58" fmla="*/ 27 w 9525"/>
                  <a:gd name="T59" fmla="*/ 85 h 9398"/>
                  <a:gd name="T60" fmla="*/ 75 w 9525"/>
                  <a:gd name="T61" fmla="*/ 91 h 9398"/>
                  <a:gd name="T62" fmla="*/ 92 w 9525"/>
                  <a:gd name="T63" fmla="*/ 71 h 9398"/>
                  <a:gd name="T64" fmla="*/ 89 w 9525"/>
                  <a:gd name="T65" fmla="*/ 43 h 9398"/>
                  <a:gd name="T66" fmla="*/ 95 w 9525"/>
                  <a:gd name="T67" fmla="*/ 23 h 9398"/>
                  <a:gd name="T68" fmla="*/ 64 w 9525"/>
                  <a:gd name="T69" fmla="*/ 3 h 9398"/>
                  <a:gd name="T70" fmla="*/ 13 w 9525"/>
                  <a:gd name="T71" fmla="*/ 25 h 9398"/>
                  <a:gd name="T72" fmla="*/ 7 w 9525"/>
                  <a:gd name="T73" fmla="*/ 39 h 9398"/>
                  <a:gd name="T74" fmla="*/ 6 w 9525"/>
                  <a:gd name="T75" fmla="*/ 70 h 9398"/>
                  <a:gd name="T76" fmla="*/ 75 w 9525"/>
                  <a:gd name="T77" fmla="*/ 91 h 9398"/>
                  <a:gd name="T78" fmla="*/ 104 w 9525"/>
                  <a:gd name="T79" fmla="*/ 80 h 9398"/>
                  <a:gd name="T80" fmla="*/ 103 w 9525"/>
                  <a:gd name="T81" fmla="*/ 50 h 9398"/>
                  <a:gd name="T82" fmla="*/ 102 w 9525"/>
                  <a:gd name="T83" fmla="*/ 34 h 9398"/>
                  <a:gd name="T84" fmla="*/ 83 w 9525"/>
                  <a:gd name="T85" fmla="*/ 11 h 9398"/>
                  <a:gd name="T86" fmla="*/ 64 w 9525"/>
                  <a:gd name="T87" fmla="*/ 3 h 9398"/>
                  <a:gd name="T88" fmla="*/ 45 w 9525"/>
                  <a:gd name="T89" fmla="*/ 4 h 9398"/>
                  <a:gd name="T90" fmla="*/ 13 w 9525"/>
                  <a:gd name="T91" fmla="*/ 25 h 9398"/>
                  <a:gd name="T92" fmla="*/ 7 w 9525"/>
                  <a:gd name="T93" fmla="*/ 39 h 9398"/>
                  <a:gd name="T94" fmla="*/ 6 w 9525"/>
                  <a:gd name="T95" fmla="*/ 70 h 9398"/>
                  <a:gd name="T96" fmla="*/ 37 w 9525"/>
                  <a:gd name="T97" fmla="*/ 97 h 9398"/>
                  <a:gd name="T98" fmla="*/ 67 w 9525"/>
                  <a:gd name="T99" fmla="*/ 102 h 9398"/>
                  <a:gd name="T100" fmla="*/ 89 w 9525"/>
                  <a:gd name="T101" fmla="*/ 98 h 9398"/>
                  <a:gd name="T102" fmla="*/ 104 w 9525"/>
                  <a:gd name="T103" fmla="*/ 79 h 9398"/>
                  <a:gd name="T104" fmla="*/ 61 w 9525"/>
                  <a:gd name="T105" fmla="*/ 0 h 9398"/>
                  <a:gd name="T106" fmla="*/ 24 w 9525"/>
                  <a:gd name="T107" fmla="*/ 13 h 9398"/>
                  <a:gd name="T108" fmla="*/ 16 w 9525"/>
                  <a:gd name="T109" fmla="*/ 16 h 9398"/>
                  <a:gd name="T110" fmla="*/ 22 w 9525"/>
                  <a:gd name="T111" fmla="*/ 96 h 9398"/>
                  <a:gd name="T112" fmla="*/ 68 w 9525"/>
                  <a:gd name="T113" fmla="*/ 108 h 9398"/>
                  <a:gd name="T114" fmla="*/ 104 w 9525"/>
                  <a:gd name="T115" fmla="*/ 79 h 939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525" h="9398">
                    <a:moveTo>
                      <a:pt x="9066" y="5139"/>
                    </a:moveTo>
                    <a:cubicBezTo>
                      <a:pt x="9219" y="4830"/>
                      <a:pt x="9371" y="4521"/>
                      <a:pt x="9524" y="4213"/>
                    </a:cubicBezTo>
                    <a:cubicBezTo>
                      <a:pt x="9524" y="4209"/>
                      <a:pt x="9523" y="4205"/>
                      <a:pt x="9523" y="4201"/>
                    </a:cubicBezTo>
                    <a:cubicBezTo>
                      <a:pt x="9331" y="3992"/>
                      <a:pt x="9139" y="3784"/>
                      <a:pt x="8947" y="3576"/>
                    </a:cubicBezTo>
                    <a:cubicBezTo>
                      <a:pt x="9033" y="3427"/>
                      <a:pt x="9119" y="3278"/>
                      <a:pt x="9205" y="3130"/>
                    </a:cubicBezTo>
                    <a:cubicBezTo>
                      <a:pt x="9204" y="3125"/>
                      <a:pt x="9203" y="3120"/>
                      <a:pt x="9202" y="3116"/>
                    </a:cubicBezTo>
                    <a:cubicBezTo>
                      <a:pt x="9066" y="3029"/>
                      <a:pt x="8931" y="2942"/>
                      <a:pt x="8795" y="2856"/>
                    </a:cubicBezTo>
                    <a:cubicBezTo>
                      <a:pt x="8778" y="2559"/>
                      <a:pt x="8762" y="2262"/>
                      <a:pt x="8745" y="1965"/>
                    </a:cubicBezTo>
                    <a:cubicBezTo>
                      <a:pt x="8738" y="1965"/>
                      <a:pt x="8731" y="1965"/>
                      <a:pt x="8724" y="1966"/>
                    </a:cubicBezTo>
                    <a:cubicBezTo>
                      <a:pt x="8740" y="2242"/>
                      <a:pt x="8755" y="2518"/>
                      <a:pt x="8771" y="2794"/>
                    </a:cubicBezTo>
                    <a:cubicBezTo>
                      <a:pt x="8596" y="2325"/>
                      <a:pt x="8421" y="1856"/>
                      <a:pt x="8246" y="1387"/>
                    </a:cubicBezTo>
                    <a:cubicBezTo>
                      <a:pt x="8244" y="1385"/>
                      <a:pt x="8243" y="1383"/>
                      <a:pt x="8241" y="1381"/>
                    </a:cubicBezTo>
                    <a:cubicBezTo>
                      <a:pt x="7863" y="1224"/>
                      <a:pt x="7486" y="1067"/>
                      <a:pt x="7108" y="910"/>
                    </a:cubicBezTo>
                    <a:cubicBezTo>
                      <a:pt x="7209" y="848"/>
                      <a:pt x="7309" y="787"/>
                      <a:pt x="7410" y="726"/>
                    </a:cubicBezTo>
                    <a:cubicBezTo>
                      <a:pt x="7406" y="720"/>
                      <a:pt x="7403" y="714"/>
                      <a:pt x="7399" y="708"/>
                    </a:cubicBezTo>
                    <a:cubicBezTo>
                      <a:pt x="7296" y="770"/>
                      <a:pt x="7193" y="833"/>
                      <a:pt x="7090" y="896"/>
                    </a:cubicBezTo>
                    <a:cubicBezTo>
                      <a:pt x="7035" y="762"/>
                      <a:pt x="6979" y="629"/>
                      <a:pt x="6923" y="496"/>
                    </a:cubicBezTo>
                    <a:cubicBezTo>
                      <a:pt x="6917" y="498"/>
                      <a:pt x="6911" y="501"/>
                      <a:pt x="6904" y="504"/>
                    </a:cubicBezTo>
                    <a:cubicBezTo>
                      <a:pt x="6956" y="628"/>
                      <a:pt x="7008" y="753"/>
                      <a:pt x="7059" y="878"/>
                    </a:cubicBezTo>
                    <a:cubicBezTo>
                      <a:pt x="6804" y="673"/>
                      <a:pt x="6548" y="468"/>
                      <a:pt x="6292" y="264"/>
                    </a:cubicBezTo>
                    <a:cubicBezTo>
                      <a:pt x="6290" y="263"/>
                      <a:pt x="6288" y="262"/>
                      <a:pt x="6286" y="262"/>
                    </a:cubicBezTo>
                    <a:cubicBezTo>
                      <a:pt x="6014" y="250"/>
                      <a:pt x="5742" y="239"/>
                      <a:pt x="5469" y="228"/>
                    </a:cubicBezTo>
                    <a:cubicBezTo>
                      <a:pt x="5398" y="153"/>
                      <a:pt x="5327" y="78"/>
                      <a:pt x="5255" y="3"/>
                    </a:cubicBezTo>
                    <a:cubicBezTo>
                      <a:pt x="5252" y="2"/>
                      <a:pt x="5248" y="1"/>
                      <a:pt x="5244" y="0"/>
                    </a:cubicBezTo>
                    <a:cubicBezTo>
                      <a:pt x="5044" y="64"/>
                      <a:pt x="4844" y="129"/>
                      <a:pt x="4643" y="194"/>
                    </a:cubicBezTo>
                    <a:cubicBezTo>
                      <a:pt x="4412" y="140"/>
                      <a:pt x="4181" y="87"/>
                      <a:pt x="3949" y="34"/>
                    </a:cubicBezTo>
                    <a:cubicBezTo>
                      <a:pt x="3948" y="34"/>
                      <a:pt x="3946" y="34"/>
                      <a:pt x="3944" y="35"/>
                    </a:cubicBezTo>
                    <a:cubicBezTo>
                      <a:pt x="3442" y="206"/>
                      <a:pt x="2940" y="377"/>
                      <a:pt x="2438" y="548"/>
                    </a:cubicBezTo>
                    <a:cubicBezTo>
                      <a:pt x="2106" y="788"/>
                      <a:pt x="1774" y="1028"/>
                      <a:pt x="1442" y="1268"/>
                    </a:cubicBezTo>
                    <a:cubicBezTo>
                      <a:pt x="1443" y="1270"/>
                      <a:pt x="1444" y="1272"/>
                      <a:pt x="1445" y="1274"/>
                    </a:cubicBezTo>
                    <a:cubicBezTo>
                      <a:pt x="1443" y="1273"/>
                      <a:pt x="1441" y="1272"/>
                      <a:pt x="1439" y="1271"/>
                    </a:cubicBezTo>
                    <a:cubicBezTo>
                      <a:pt x="1074" y="1845"/>
                      <a:pt x="709" y="2419"/>
                      <a:pt x="344" y="2994"/>
                    </a:cubicBezTo>
                    <a:cubicBezTo>
                      <a:pt x="344" y="2995"/>
                      <a:pt x="344" y="2997"/>
                      <a:pt x="343" y="2999"/>
                    </a:cubicBezTo>
                    <a:cubicBezTo>
                      <a:pt x="343" y="2999"/>
                      <a:pt x="343" y="2999"/>
                      <a:pt x="342" y="2999"/>
                    </a:cubicBezTo>
                    <a:cubicBezTo>
                      <a:pt x="342" y="3000"/>
                      <a:pt x="342" y="3001"/>
                      <a:pt x="342" y="3002"/>
                    </a:cubicBezTo>
                    <a:cubicBezTo>
                      <a:pt x="228" y="3567"/>
                      <a:pt x="114" y="4132"/>
                      <a:pt x="0" y="4696"/>
                    </a:cubicBezTo>
                    <a:cubicBezTo>
                      <a:pt x="0" y="4698"/>
                      <a:pt x="0" y="4699"/>
                      <a:pt x="0" y="4700"/>
                    </a:cubicBezTo>
                    <a:cubicBezTo>
                      <a:pt x="54" y="5039"/>
                      <a:pt x="107" y="5378"/>
                      <a:pt x="160" y="5716"/>
                    </a:cubicBezTo>
                    <a:cubicBezTo>
                      <a:pt x="400" y="6249"/>
                      <a:pt x="640" y="6782"/>
                      <a:pt x="880" y="7315"/>
                    </a:cubicBezTo>
                    <a:cubicBezTo>
                      <a:pt x="1185" y="7602"/>
                      <a:pt x="1490" y="7888"/>
                      <a:pt x="1794" y="8174"/>
                    </a:cubicBezTo>
                    <a:cubicBezTo>
                      <a:pt x="1735" y="8195"/>
                      <a:pt x="1676" y="8216"/>
                      <a:pt x="1616" y="8237"/>
                    </a:cubicBezTo>
                    <a:cubicBezTo>
                      <a:pt x="1619" y="8244"/>
                      <a:pt x="1621" y="8251"/>
                      <a:pt x="1623" y="8257"/>
                    </a:cubicBezTo>
                    <a:cubicBezTo>
                      <a:pt x="1686" y="8235"/>
                      <a:pt x="1749" y="8213"/>
                      <a:pt x="1811" y="8190"/>
                    </a:cubicBezTo>
                    <a:cubicBezTo>
                      <a:pt x="2023" y="8387"/>
                      <a:pt x="2234" y="8583"/>
                      <a:pt x="2445" y="8779"/>
                    </a:cubicBezTo>
                    <a:cubicBezTo>
                      <a:pt x="2667" y="8856"/>
                      <a:pt x="2889" y="8932"/>
                      <a:pt x="3110" y="9009"/>
                    </a:cubicBezTo>
                    <a:cubicBezTo>
                      <a:pt x="3426" y="9138"/>
                      <a:pt x="3742" y="9268"/>
                      <a:pt x="4057" y="9397"/>
                    </a:cubicBezTo>
                    <a:cubicBezTo>
                      <a:pt x="4060" y="9397"/>
                      <a:pt x="4062" y="9397"/>
                      <a:pt x="4064" y="9397"/>
                    </a:cubicBezTo>
                    <a:cubicBezTo>
                      <a:pt x="4311" y="9325"/>
                      <a:pt x="4557" y="9254"/>
                      <a:pt x="4803" y="9182"/>
                    </a:cubicBezTo>
                    <a:cubicBezTo>
                      <a:pt x="4958" y="9235"/>
                      <a:pt x="5112" y="9289"/>
                      <a:pt x="5266" y="9342"/>
                    </a:cubicBezTo>
                    <a:cubicBezTo>
                      <a:pt x="5268" y="9335"/>
                      <a:pt x="5270" y="9329"/>
                      <a:pt x="5272" y="9322"/>
                    </a:cubicBezTo>
                    <a:cubicBezTo>
                      <a:pt x="5150" y="9280"/>
                      <a:pt x="5028" y="9237"/>
                      <a:pt x="4905" y="9195"/>
                    </a:cubicBezTo>
                    <a:cubicBezTo>
                      <a:pt x="5222" y="9237"/>
                      <a:pt x="5538" y="9280"/>
                      <a:pt x="5854" y="9322"/>
                    </a:cubicBezTo>
                    <a:cubicBezTo>
                      <a:pt x="5856" y="9321"/>
                      <a:pt x="5858" y="9319"/>
                      <a:pt x="5859" y="9318"/>
                    </a:cubicBezTo>
                    <a:cubicBezTo>
                      <a:pt x="5860" y="9319"/>
                      <a:pt x="5861" y="9319"/>
                      <a:pt x="5861" y="9320"/>
                    </a:cubicBezTo>
                    <a:cubicBezTo>
                      <a:pt x="6210" y="9083"/>
                      <a:pt x="6559" y="8847"/>
                      <a:pt x="6907" y="8610"/>
                    </a:cubicBezTo>
                    <a:cubicBezTo>
                      <a:pt x="7145" y="8569"/>
                      <a:pt x="7384" y="8527"/>
                      <a:pt x="7622" y="8485"/>
                    </a:cubicBezTo>
                    <a:cubicBezTo>
                      <a:pt x="7624" y="8484"/>
                      <a:pt x="7626" y="8483"/>
                      <a:pt x="7628" y="8481"/>
                    </a:cubicBezTo>
                    <a:cubicBezTo>
                      <a:pt x="7628" y="8481"/>
                      <a:pt x="7629" y="8481"/>
                      <a:pt x="7629" y="8481"/>
                    </a:cubicBezTo>
                    <a:cubicBezTo>
                      <a:pt x="8059" y="7941"/>
                      <a:pt x="8488" y="7401"/>
                      <a:pt x="8918" y="6861"/>
                    </a:cubicBezTo>
                    <a:cubicBezTo>
                      <a:pt x="8918" y="6860"/>
                      <a:pt x="8919" y="6859"/>
                      <a:pt x="8919" y="6858"/>
                    </a:cubicBezTo>
                    <a:cubicBezTo>
                      <a:pt x="8919" y="6858"/>
                      <a:pt x="8920" y="6858"/>
                      <a:pt x="8920" y="6858"/>
                    </a:cubicBezTo>
                    <a:cubicBezTo>
                      <a:pt x="9114" y="6253"/>
                      <a:pt x="9308" y="5648"/>
                      <a:pt x="9502" y="5043"/>
                    </a:cubicBezTo>
                    <a:cubicBezTo>
                      <a:pt x="9498" y="5039"/>
                      <a:pt x="9494" y="5035"/>
                      <a:pt x="9490" y="5030"/>
                    </a:cubicBezTo>
                    <a:cubicBezTo>
                      <a:pt x="9349" y="5067"/>
                      <a:pt x="9207" y="5103"/>
                      <a:pt x="9066" y="5139"/>
                    </a:cubicBezTo>
                    <a:close/>
                    <a:moveTo>
                      <a:pt x="5859" y="8771"/>
                    </a:moveTo>
                    <a:cubicBezTo>
                      <a:pt x="6435" y="8503"/>
                      <a:pt x="7011" y="8235"/>
                      <a:pt x="7586" y="7966"/>
                    </a:cubicBezTo>
                    <a:cubicBezTo>
                      <a:pt x="7357" y="8174"/>
                      <a:pt x="7127" y="8382"/>
                      <a:pt x="6898" y="8590"/>
                    </a:cubicBezTo>
                    <a:cubicBezTo>
                      <a:pt x="6552" y="8651"/>
                      <a:pt x="6206" y="8711"/>
                      <a:pt x="5859" y="8771"/>
                    </a:cubicBezTo>
                    <a:close/>
                    <a:moveTo>
                      <a:pt x="3953" y="57"/>
                    </a:moveTo>
                    <a:cubicBezTo>
                      <a:pt x="4163" y="104"/>
                      <a:pt x="4373" y="152"/>
                      <a:pt x="4582" y="200"/>
                    </a:cubicBezTo>
                    <a:cubicBezTo>
                      <a:pt x="4338" y="227"/>
                      <a:pt x="4094" y="255"/>
                      <a:pt x="3849" y="283"/>
                    </a:cubicBezTo>
                    <a:cubicBezTo>
                      <a:pt x="3884" y="207"/>
                      <a:pt x="3919" y="132"/>
                      <a:pt x="3953" y="57"/>
                    </a:cubicBezTo>
                    <a:close/>
                    <a:moveTo>
                      <a:pt x="7645" y="7902"/>
                    </a:moveTo>
                    <a:cubicBezTo>
                      <a:pt x="7584" y="7733"/>
                      <a:pt x="7523" y="7563"/>
                      <a:pt x="7462" y="7393"/>
                    </a:cubicBezTo>
                    <a:cubicBezTo>
                      <a:pt x="7830" y="6997"/>
                      <a:pt x="8197" y="6600"/>
                      <a:pt x="8565" y="6203"/>
                    </a:cubicBezTo>
                    <a:cubicBezTo>
                      <a:pt x="8258" y="6770"/>
                      <a:pt x="7952" y="7336"/>
                      <a:pt x="7645" y="7902"/>
                    </a:cubicBezTo>
                    <a:close/>
                    <a:moveTo>
                      <a:pt x="3183" y="8373"/>
                    </a:moveTo>
                    <a:cubicBezTo>
                      <a:pt x="3707" y="8635"/>
                      <a:pt x="4230" y="8896"/>
                      <a:pt x="4753" y="9157"/>
                    </a:cubicBezTo>
                    <a:cubicBezTo>
                      <a:pt x="4350" y="9132"/>
                      <a:pt x="3947" y="9106"/>
                      <a:pt x="3543" y="9081"/>
                    </a:cubicBezTo>
                    <a:cubicBezTo>
                      <a:pt x="3423" y="8845"/>
                      <a:pt x="3303" y="8609"/>
                      <a:pt x="3183" y="8373"/>
                    </a:cubicBezTo>
                    <a:close/>
                    <a:moveTo>
                      <a:pt x="2592" y="8655"/>
                    </a:moveTo>
                    <a:cubicBezTo>
                      <a:pt x="2150" y="8114"/>
                      <a:pt x="1707" y="7573"/>
                      <a:pt x="1264" y="7032"/>
                    </a:cubicBezTo>
                    <a:cubicBezTo>
                      <a:pt x="1890" y="7471"/>
                      <a:pt x="2516" y="7910"/>
                      <a:pt x="3141" y="8349"/>
                    </a:cubicBezTo>
                    <a:cubicBezTo>
                      <a:pt x="2958" y="8451"/>
                      <a:pt x="2775" y="8553"/>
                      <a:pt x="2592" y="8655"/>
                    </a:cubicBezTo>
                    <a:close/>
                    <a:moveTo>
                      <a:pt x="554" y="6029"/>
                    </a:moveTo>
                    <a:cubicBezTo>
                      <a:pt x="552" y="6020"/>
                      <a:pt x="550" y="6010"/>
                      <a:pt x="547" y="6000"/>
                    </a:cubicBezTo>
                    <a:cubicBezTo>
                      <a:pt x="727" y="5567"/>
                      <a:pt x="907" y="5133"/>
                      <a:pt x="1086" y="4699"/>
                    </a:cubicBezTo>
                    <a:cubicBezTo>
                      <a:pt x="1123" y="5448"/>
                      <a:pt x="1160" y="6196"/>
                      <a:pt x="1196" y="6944"/>
                    </a:cubicBezTo>
                    <a:cubicBezTo>
                      <a:pt x="982" y="6639"/>
                      <a:pt x="768" y="6334"/>
                      <a:pt x="554" y="6029"/>
                    </a:cubicBezTo>
                    <a:close/>
                    <a:moveTo>
                      <a:pt x="1195" y="6979"/>
                    </a:moveTo>
                    <a:cubicBezTo>
                      <a:pt x="1095" y="7083"/>
                      <a:pt x="995" y="7187"/>
                      <a:pt x="894" y="7291"/>
                    </a:cubicBezTo>
                    <a:cubicBezTo>
                      <a:pt x="786" y="6890"/>
                      <a:pt x="678" y="6489"/>
                      <a:pt x="570" y="6088"/>
                    </a:cubicBezTo>
                    <a:cubicBezTo>
                      <a:pt x="779" y="6385"/>
                      <a:pt x="987" y="6682"/>
                      <a:pt x="1195" y="6979"/>
                    </a:cubicBezTo>
                    <a:close/>
                    <a:moveTo>
                      <a:pt x="3177" y="461"/>
                    </a:moveTo>
                    <a:cubicBezTo>
                      <a:pt x="3414" y="639"/>
                      <a:pt x="3651" y="818"/>
                      <a:pt x="3888" y="997"/>
                    </a:cubicBezTo>
                    <a:cubicBezTo>
                      <a:pt x="3589" y="1060"/>
                      <a:pt x="3290" y="1123"/>
                      <a:pt x="2990" y="1187"/>
                    </a:cubicBezTo>
                    <a:cubicBezTo>
                      <a:pt x="3053" y="945"/>
                      <a:pt x="3115" y="703"/>
                      <a:pt x="3177" y="461"/>
                    </a:cubicBezTo>
                    <a:close/>
                    <a:moveTo>
                      <a:pt x="5020" y="1367"/>
                    </a:moveTo>
                    <a:cubicBezTo>
                      <a:pt x="4632" y="1012"/>
                      <a:pt x="4244" y="657"/>
                      <a:pt x="3856" y="303"/>
                    </a:cubicBezTo>
                    <a:cubicBezTo>
                      <a:pt x="4116" y="273"/>
                      <a:pt x="4376" y="244"/>
                      <a:pt x="4635" y="215"/>
                    </a:cubicBezTo>
                    <a:cubicBezTo>
                      <a:pt x="4764" y="599"/>
                      <a:pt x="4892" y="983"/>
                      <a:pt x="5020" y="1367"/>
                    </a:cubicBezTo>
                    <a:close/>
                    <a:moveTo>
                      <a:pt x="8158" y="1946"/>
                    </a:moveTo>
                    <a:cubicBezTo>
                      <a:pt x="8173" y="2218"/>
                      <a:pt x="8187" y="2490"/>
                      <a:pt x="8202" y="2763"/>
                    </a:cubicBezTo>
                    <a:cubicBezTo>
                      <a:pt x="7897" y="2396"/>
                      <a:pt x="7591" y="2029"/>
                      <a:pt x="7286" y="1662"/>
                    </a:cubicBezTo>
                    <a:cubicBezTo>
                      <a:pt x="7577" y="1756"/>
                      <a:pt x="7867" y="1851"/>
                      <a:pt x="8158" y="1946"/>
                    </a:cubicBezTo>
                    <a:close/>
                    <a:moveTo>
                      <a:pt x="8590" y="6146"/>
                    </a:moveTo>
                    <a:cubicBezTo>
                      <a:pt x="8219" y="6546"/>
                      <a:pt x="7849" y="6946"/>
                      <a:pt x="7478" y="7345"/>
                    </a:cubicBezTo>
                    <a:cubicBezTo>
                      <a:pt x="7631" y="6942"/>
                      <a:pt x="7783" y="6539"/>
                      <a:pt x="7936" y="6135"/>
                    </a:cubicBezTo>
                    <a:cubicBezTo>
                      <a:pt x="8154" y="6139"/>
                      <a:pt x="8372" y="6143"/>
                      <a:pt x="8590" y="6146"/>
                    </a:cubicBezTo>
                    <a:close/>
                    <a:moveTo>
                      <a:pt x="4330" y="8217"/>
                    </a:moveTo>
                    <a:cubicBezTo>
                      <a:pt x="4693" y="7714"/>
                      <a:pt x="5055" y="7211"/>
                      <a:pt x="5417" y="6708"/>
                    </a:cubicBezTo>
                    <a:cubicBezTo>
                      <a:pt x="5377" y="7286"/>
                      <a:pt x="5336" y="7863"/>
                      <a:pt x="5295" y="8440"/>
                    </a:cubicBezTo>
                    <a:cubicBezTo>
                      <a:pt x="4974" y="8366"/>
                      <a:pt x="4652" y="8292"/>
                      <a:pt x="4330" y="8217"/>
                    </a:cubicBezTo>
                    <a:close/>
                    <a:moveTo>
                      <a:pt x="8168" y="2775"/>
                    </a:moveTo>
                    <a:cubicBezTo>
                      <a:pt x="7609" y="2672"/>
                      <a:pt x="7051" y="2569"/>
                      <a:pt x="6492" y="2466"/>
                    </a:cubicBezTo>
                    <a:cubicBezTo>
                      <a:pt x="6525" y="2204"/>
                      <a:pt x="6558" y="1943"/>
                      <a:pt x="6591" y="1682"/>
                    </a:cubicBezTo>
                    <a:cubicBezTo>
                      <a:pt x="7117" y="2046"/>
                      <a:pt x="7642" y="2410"/>
                      <a:pt x="8168" y="2775"/>
                    </a:cubicBezTo>
                    <a:close/>
                    <a:moveTo>
                      <a:pt x="5464" y="6695"/>
                    </a:moveTo>
                    <a:cubicBezTo>
                      <a:pt x="6117" y="6928"/>
                      <a:pt x="6769" y="7160"/>
                      <a:pt x="7421" y="7392"/>
                    </a:cubicBezTo>
                    <a:cubicBezTo>
                      <a:pt x="7089" y="7536"/>
                      <a:pt x="6758" y="7680"/>
                      <a:pt x="6426" y="7823"/>
                    </a:cubicBezTo>
                    <a:cubicBezTo>
                      <a:pt x="6106" y="7447"/>
                      <a:pt x="5785" y="7071"/>
                      <a:pt x="5464" y="6695"/>
                    </a:cubicBezTo>
                    <a:close/>
                    <a:moveTo>
                      <a:pt x="2382" y="7287"/>
                    </a:moveTo>
                    <a:cubicBezTo>
                      <a:pt x="2746" y="7287"/>
                      <a:pt x="3110" y="7287"/>
                      <a:pt x="3474" y="7287"/>
                    </a:cubicBezTo>
                    <a:cubicBezTo>
                      <a:pt x="3477" y="7291"/>
                      <a:pt x="3480" y="7294"/>
                      <a:pt x="3483" y="7297"/>
                    </a:cubicBezTo>
                    <a:cubicBezTo>
                      <a:pt x="3374" y="7641"/>
                      <a:pt x="3265" y="7984"/>
                      <a:pt x="3156" y="8327"/>
                    </a:cubicBezTo>
                    <a:cubicBezTo>
                      <a:pt x="2898" y="7981"/>
                      <a:pt x="2640" y="7634"/>
                      <a:pt x="2382" y="7287"/>
                    </a:cubicBezTo>
                    <a:close/>
                    <a:moveTo>
                      <a:pt x="2532" y="5956"/>
                    </a:moveTo>
                    <a:cubicBezTo>
                      <a:pt x="2533" y="5957"/>
                      <a:pt x="2533" y="5957"/>
                      <a:pt x="2533" y="5957"/>
                    </a:cubicBezTo>
                    <a:cubicBezTo>
                      <a:pt x="2473" y="6393"/>
                      <a:pt x="2413" y="6829"/>
                      <a:pt x="2352" y="7264"/>
                    </a:cubicBezTo>
                    <a:cubicBezTo>
                      <a:pt x="1979" y="7168"/>
                      <a:pt x="1605" y="7072"/>
                      <a:pt x="1231" y="6975"/>
                    </a:cubicBezTo>
                    <a:cubicBezTo>
                      <a:pt x="1660" y="6641"/>
                      <a:pt x="2089" y="6307"/>
                      <a:pt x="2517" y="5972"/>
                    </a:cubicBezTo>
                    <a:cubicBezTo>
                      <a:pt x="2522" y="5967"/>
                      <a:pt x="2527" y="5962"/>
                      <a:pt x="2532" y="5956"/>
                    </a:cubicBezTo>
                    <a:close/>
                    <a:moveTo>
                      <a:pt x="3903" y="5965"/>
                    </a:moveTo>
                    <a:cubicBezTo>
                      <a:pt x="3453" y="5958"/>
                      <a:pt x="3003" y="5951"/>
                      <a:pt x="2553" y="5943"/>
                    </a:cubicBezTo>
                    <a:cubicBezTo>
                      <a:pt x="2553" y="5941"/>
                      <a:pt x="2552" y="5939"/>
                      <a:pt x="2551" y="5936"/>
                    </a:cubicBezTo>
                    <a:cubicBezTo>
                      <a:pt x="3065" y="5405"/>
                      <a:pt x="3578" y="4873"/>
                      <a:pt x="4091" y="4341"/>
                    </a:cubicBezTo>
                    <a:cubicBezTo>
                      <a:pt x="4029" y="4883"/>
                      <a:pt x="3966" y="5424"/>
                      <a:pt x="3903" y="5965"/>
                    </a:cubicBezTo>
                    <a:close/>
                    <a:moveTo>
                      <a:pt x="3483" y="7264"/>
                    </a:moveTo>
                    <a:cubicBezTo>
                      <a:pt x="3177" y="6831"/>
                      <a:pt x="2871" y="6398"/>
                      <a:pt x="2564" y="5964"/>
                    </a:cubicBezTo>
                    <a:cubicBezTo>
                      <a:pt x="3009" y="5972"/>
                      <a:pt x="3454" y="5979"/>
                      <a:pt x="3898" y="5986"/>
                    </a:cubicBezTo>
                    <a:cubicBezTo>
                      <a:pt x="3764" y="6411"/>
                      <a:pt x="3629" y="6836"/>
                      <a:pt x="3494" y="7261"/>
                    </a:cubicBezTo>
                    <a:cubicBezTo>
                      <a:pt x="3491" y="7262"/>
                      <a:pt x="3487" y="7263"/>
                      <a:pt x="3483" y="7264"/>
                    </a:cubicBezTo>
                    <a:close/>
                    <a:moveTo>
                      <a:pt x="3459" y="7267"/>
                    </a:moveTo>
                    <a:cubicBezTo>
                      <a:pt x="3097" y="7267"/>
                      <a:pt x="2735" y="7267"/>
                      <a:pt x="2373" y="7267"/>
                    </a:cubicBezTo>
                    <a:cubicBezTo>
                      <a:pt x="2432" y="6839"/>
                      <a:pt x="2491" y="6410"/>
                      <a:pt x="2550" y="5981"/>
                    </a:cubicBezTo>
                    <a:cubicBezTo>
                      <a:pt x="2853" y="6410"/>
                      <a:pt x="3156" y="6839"/>
                      <a:pt x="3459" y="7267"/>
                    </a:cubicBezTo>
                    <a:close/>
                    <a:moveTo>
                      <a:pt x="3919" y="5990"/>
                    </a:moveTo>
                    <a:cubicBezTo>
                      <a:pt x="4413" y="6217"/>
                      <a:pt x="4907" y="6444"/>
                      <a:pt x="5401" y="6670"/>
                    </a:cubicBezTo>
                    <a:cubicBezTo>
                      <a:pt x="4774" y="6865"/>
                      <a:pt x="4146" y="7059"/>
                      <a:pt x="3518" y="7253"/>
                    </a:cubicBezTo>
                    <a:cubicBezTo>
                      <a:pt x="3652" y="6832"/>
                      <a:pt x="3786" y="6411"/>
                      <a:pt x="3919" y="5990"/>
                    </a:cubicBezTo>
                    <a:close/>
                    <a:moveTo>
                      <a:pt x="3940" y="5977"/>
                    </a:moveTo>
                    <a:cubicBezTo>
                      <a:pt x="4534" y="5773"/>
                      <a:pt x="5128" y="5569"/>
                      <a:pt x="5721" y="5365"/>
                    </a:cubicBezTo>
                    <a:cubicBezTo>
                      <a:pt x="5622" y="5796"/>
                      <a:pt x="5523" y="6227"/>
                      <a:pt x="5423" y="6657"/>
                    </a:cubicBezTo>
                    <a:cubicBezTo>
                      <a:pt x="4929" y="6431"/>
                      <a:pt x="4435" y="6204"/>
                      <a:pt x="3940" y="5977"/>
                    </a:cubicBezTo>
                    <a:close/>
                    <a:moveTo>
                      <a:pt x="3925" y="5961"/>
                    </a:moveTo>
                    <a:cubicBezTo>
                      <a:pt x="3989" y="5413"/>
                      <a:pt x="4052" y="4865"/>
                      <a:pt x="4115" y="4317"/>
                    </a:cubicBezTo>
                    <a:cubicBezTo>
                      <a:pt x="4648" y="4660"/>
                      <a:pt x="5181" y="5003"/>
                      <a:pt x="5714" y="5345"/>
                    </a:cubicBezTo>
                    <a:cubicBezTo>
                      <a:pt x="5118" y="5551"/>
                      <a:pt x="4522" y="5756"/>
                      <a:pt x="3925" y="5961"/>
                    </a:cubicBezTo>
                    <a:close/>
                    <a:moveTo>
                      <a:pt x="4456" y="2309"/>
                    </a:moveTo>
                    <a:cubicBezTo>
                      <a:pt x="4828" y="2554"/>
                      <a:pt x="5200" y="2800"/>
                      <a:pt x="5572" y="3046"/>
                    </a:cubicBezTo>
                    <a:cubicBezTo>
                      <a:pt x="5088" y="3459"/>
                      <a:pt x="4604" y="3872"/>
                      <a:pt x="4120" y="4285"/>
                    </a:cubicBezTo>
                    <a:cubicBezTo>
                      <a:pt x="4232" y="3626"/>
                      <a:pt x="4344" y="2967"/>
                      <a:pt x="4456" y="2309"/>
                    </a:cubicBezTo>
                    <a:close/>
                    <a:moveTo>
                      <a:pt x="5588" y="3061"/>
                    </a:moveTo>
                    <a:cubicBezTo>
                      <a:pt x="5819" y="3421"/>
                      <a:pt x="6049" y="3781"/>
                      <a:pt x="6279" y="4142"/>
                    </a:cubicBezTo>
                    <a:cubicBezTo>
                      <a:pt x="5570" y="4190"/>
                      <a:pt x="4861" y="4238"/>
                      <a:pt x="4151" y="4286"/>
                    </a:cubicBezTo>
                    <a:cubicBezTo>
                      <a:pt x="4630" y="3877"/>
                      <a:pt x="5109" y="3469"/>
                      <a:pt x="5588" y="3061"/>
                    </a:cubicBezTo>
                    <a:close/>
                    <a:moveTo>
                      <a:pt x="5730" y="5331"/>
                    </a:moveTo>
                    <a:cubicBezTo>
                      <a:pt x="5200" y="4990"/>
                      <a:pt x="4669" y="4649"/>
                      <a:pt x="4138" y="4307"/>
                    </a:cubicBezTo>
                    <a:cubicBezTo>
                      <a:pt x="4853" y="4259"/>
                      <a:pt x="5567" y="4211"/>
                      <a:pt x="6281" y="4163"/>
                    </a:cubicBezTo>
                    <a:cubicBezTo>
                      <a:pt x="6098" y="4552"/>
                      <a:pt x="5914" y="4942"/>
                      <a:pt x="5730" y="5331"/>
                    </a:cubicBezTo>
                    <a:close/>
                    <a:moveTo>
                      <a:pt x="6299" y="4172"/>
                    </a:moveTo>
                    <a:cubicBezTo>
                      <a:pt x="6506" y="4455"/>
                      <a:pt x="6713" y="4739"/>
                      <a:pt x="6919" y="5023"/>
                    </a:cubicBezTo>
                    <a:cubicBezTo>
                      <a:pt x="6530" y="5127"/>
                      <a:pt x="6141" y="5231"/>
                      <a:pt x="5751" y="5334"/>
                    </a:cubicBezTo>
                    <a:cubicBezTo>
                      <a:pt x="5934" y="4947"/>
                      <a:pt x="6117" y="4559"/>
                      <a:pt x="6299" y="4172"/>
                    </a:cubicBezTo>
                    <a:close/>
                    <a:moveTo>
                      <a:pt x="6302" y="4139"/>
                    </a:moveTo>
                    <a:cubicBezTo>
                      <a:pt x="6073" y="3780"/>
                      <a:pt x="5844" y="3421"/>
                      <a:pt x="5614" y="3063"/>
                    </a:cubicBezTo>
                    <a:cubicBezTo>
                      <a:pt x="6280" y="3274"/>
                      <a:pt x="6945" y="3485"/>
                      <a:pt x="7610" y="3696"/>
                    </a:cubicBezTo>
                    <a:cubicBezTo>
                      <a:pt x="7174" y="3843"/>
                      <a:pt x="6738" y="3991"/>
                      <a:pt x="6302" y="4139"/>
                    </a:cubicBezTo>
                    <a:close/>
                    <a:moveTo>
                      <a:pt x="5614" y="3041"/>
                    </a:moveTo>
                    <a:cubicBezTo>
                      <a:pt x="5902" y="2856"/>
                      <a:pt x="6190" y="2671"/>
                      <a:pt x="6478" y="2487"/>
                    </a:cubicBezTo>
                    <a:cubicBezTo>
                      <a:pt x="6855" y="2882"/>
                      <a:pt x="7231" y="3277"/>
                      <a:pt x="7608" y="3673"/>
                    </a:cubicBezTo>
                    <a:cubicBezTo>
                      <a:pt x="6944" y="3462"/>
                      <a:pt x="6279" y="3251"/>
                      <a:pt x="5614" y="3041"/>
                    </a:cubicBezTo>
                    <a:close/>
                    <a:moveTo>
                      <a:pt x="6510" y="2490"/>
                    </a:moveTo>
                    <a:cubicBezTo>
                      <a:pt x="7072" y="2593"/>
                      <a:pt x="7635" y="2697"/>
                      <a:pt x="8197" y="2801"/>
                    </a:cubicBezTo>
                    <a:cubicBezTo>
                      <a:pt x="8012" y="3093"/>
                      <a:pt x="7827" y="3386"/>
                      <a:pt x="7642" y="3679"/>
                    </a:cubicBezTo>
                    <a:cubicBezTo>
                      <a:pt x="7265" y="3282"/>
                      <a:pt x="6888" y="2886"/>
                      <a:pt x="6510" y="2490"/>
                    </a:cubicBezTo>
                    <a:close/>
                    <a:moveTo>
                      <a:pt x="5596" y="3029"/>
                    </a:moveTo>
                    <a:cubicBezTo>
                      <a:pt x="5419" y="2496"/>
                      <a:pt x="5241" y="1963"/>
                      <a:pt x="5063" y="1430"/>
                    </a:cubicBezTo>
                    <a:cubicBezTo>
                      <a:pt x="5529" y="1778"/>
                      <a:pt x="5995" y="2126"/>
                      <a:pt x="6461" y="2474"/>
                    </a:cubicBezTo>
                    <a:cubicBezTo>
                      <a:pt x="6173" y="2659"/>
                      <a:pt x="5885" y="2844"/>
                      <a:pt x="5596" y="3029"/>
                    </a:cubicBezTo>
                    <a:close/>
                    <a:moveTo>
                      <a:pt x="5571" y="3021"/>
                    </a:moveTo>
                    <a:cubicBezTo>
                      <a:pt x="5202" y="2777"/>
                      <a:pt x="4833" y="2533"/>
                      <a:pt x="4463" y="2289"/>
                    </a:cubicBezTo>
                    <a:cubicBezTo>
                      <a:pt x="4655" y="2001"/>
                      <a:pt x="4847" y="1713"/>
                      <a:pt x="5039" y="1425"/>
                    </a:cubicBezTo>
                    <a:cubicBezTo>
                      <a:pt x="5217" y="1957"/>
                      <a:pt x="5394" y="2489"/>
                      <a:pt x="5571" y="3021"/>
                    </a:cubicBezTo>
                    <a:close/>
                    <a:moveTo>
                      <a:pt x="4099" y="4281"/>
                    </a:moveTo>
                    <a:cubicBezTo>
                      <a:pt x="3876" y="4102"/>
                      <a:pt x="3652" y="3923"/>
                      <a:pt x="3428" y="3744"/>
                    </a:cubicBezTo>
                    <a:cubicBezTo>
                      <a:pt x="2948" y="3361"/>
                      <a:pt x="2468" y="2978"/>
                      <a:pt x="1988" y="2596"/>
                    </a:cubicBezTo>
                    <a:cubicBezTo>
                      <a:pt x="2804" y="2498"/>
                      <a:pt x="3620" y="2401"/>
                      <a:pt x="4436" y="2304"/>
                    </a:cubicBezTo>
                    <a:cubicBezTo>
                      <a:pt x="4324" y="2963"/>
                      <a:pt x="4212" y="3622"/>
                      <a:pt x="4099" y="4281"/>
                    </a:cubicBezTo>
                    <a:close/>
                    <a:moveTo>
                      <a:pt x="3415" y="3760"/>
                    </a:moveTo>
                    <a:cubicBezTo>
                      <a:pt x="3637" y="3937"/>
                      <a:pt x="3859" y="4114"/>
                      <a:pt x="4080" y="4292"/>
                    </a:cubicBezTo>
                    <a:cubicBezTo>
                      <a:pt x="3503" y="4343"/>
                      <a:pt x="2925" y="4395"/>
                      <a:pt x="2347" y="4447"/>
                    </a:cubicBezTo>
                    <a:cubicBezTo>
                      <a:pt x="2224" y="3837"/>
                      <a:pt x="2101" y="3226"/>
                      <a:pt x="1977" y="2615"/>
                    </a:cubicBezTo>
                    <a:cubicBezTo>
                      <a:pt x="2457" y="2996"/>
                      <a:pt x="2936" y="3378"/>
                      <a:pt x="3415" y="3760"/>
                    </a:cubicBezTo>
                    <a:close/>
                    <a:moveTo>
                      <a:pt x="4092" y="4311"/>
                    </a:moveTo>
                    <a:cubicBezTo>
                      <a:pt x="3578" y="4844"/>
                      <a:pt x="3063" y="5377"/>
                      <a:pt x="2548" y="5910"/>
                    </a:cubicBezTo>
                    <a:cubicBezTo>
                      <a:pt x="2482" y="5430"/>
                      <a:pt x="2416" y="4949"/>
                      <a:pt x="2350" y="4468"/>
                    </a:cubicBezTo>
                    <a:cubicBezTo>
                      <a:pt x="2931" y="4416"/>
                      <a:pt x="3512" y="4364"/>
                      <a:pt x="4092" y="4311"/>
                    </a:cubicBezTo>
                    <a:close/>
                    <a:moveTo>
                      <a:pt x="3499" y="7315"/>
                    </a:moveTo>
                    <a:cubicBezTo>
                      <a:pt x="3763" y="7615"/>
                      <a:pt x="4027" y="7915"/>
                      <a:pt x="4291" y="8215"/>
                    </a:cubicBezTo>
                    <a:cubicBezTo>
                      <a:pt x="3919" y="8256"/>
                      <a:pt x="3547" y="8297"/>
                      <a:pt x="3175" y="8337"/>
                    </a:cubicBezTo>
                    <a:cubicBezTo>
                      <a:pt x="3283" y="7997"/>
                      <a:pt x="3391" y="7656"/>
                      <a:pt x="3499" y="7315"/>
                    </a:cubicBezTo>
                    <a:close/>
                    <a:moveTo>
                      <a:pt x="4311" y="8207"/>
                    </a:moveTo>
                    <a:cubicBezTo>
                      <a:pt x="4043" y="7902"/>
                      <a:pt x="3775" y="7597"/>
                      <a:pt x="3506" y="7292"/>
                    </a:cubicBezTo>
                    <a:cubicBezTo>
                      <a:pt x="3508" y="7287"/>
                      <a:pt x="3510" y="7282"/>
                      <a:pt x="3511" y="7277"/>
                    </a:cubicBezTo>
                    <a:cubicBezTo>
                      <a:pt x="4142" y="7082"/>
                      <a:pt x="4773" y="6887"/>
                      <a:pt x="5403" y="6691"/>
                    </a:cubicBezTo>
                    <a:cubicBezTo>
                      <a:pt x="5039" y="7197"/>
                      <a:pt x="4675" y="7702"/>
                      <a:pt x="4311" y="8207"/>
                    </a:cubicBezTo>
                    <a:close/>
                    <a:moveTo>
                      <a:pt x="5468" y="6675"/>
                    </a:moveTo>
                    <a:cubicBezTo>
                      <a:pt x="6283" y="6496"/>
                      <a:pt x="7098" y="6317"/>
                      <a:pt x="7913" y="6138"/>
                    </a:cubicBezTo>
                    <a:cubicBezTo>
                      <a:pt x="7756" y="6551"/>
                      <a:pt x="7600" y="6964"/>
                      <a:pt x="7443" y="7377"/>
                    </a:cubicBezTo>
                    <a:cubicBezTo>
                      <a:pt x="6785" y="7143"/>
                      <a:pt x="6127" y="6909"/>
                      <a:pt x="5468" y="6675"/>
                    </a:cubicBezTo>
                    <a:close/>
                    <a:moveTo>
                      <a:pt x="5744" y="5358"/>
                    </a:moveTo>
                    <a:cubicBezTo>
                      <a:pt x="6131" y="5255"/>
                      <a:pt x="6518" y="5152"/>
                      <a:pt x="6905" y="5048"/>
                    </a:cubicBezTo>
                    <a:cubicBezTo>
                      <a:pt x="6420" y="5578"/>
                      <a:pt x="5934" y="6108"/>
                      <a:pt x="5448" y="6637"/>
                    </a:cubicBezTo>
                    <a:cubicBezTo>
                      <a:pt x="5547" y="6211"/>
                      <a:pt x="5646" y="5785"/>
                      <a:pt x="5744" y="5358"/>
                    </a:cubicBezTo>
                    <a:close/>
                    <a:moveTo>
                      <a:pt x="6314" y="4157"/>
                    </a:moveTo>
                    <a:cubicBezTo>
                      <a:pt x="6750" y="4009"/>
                      <a:pt x="7186" y="3861"/>
                      <a:pt x="7622" y="3714"/>
                    </a:cubicBezTo>
                    <a:cubicBezTo>
                      <a:pt x="7393" y="4146"/>
                      <a:pt x="7164" y="4578"/>
                      <a:pt x="6935" y="5010"/>
                    </a:cubicBezTo>
                    <a:cubicBezTo>
                      <a:pt x="6728" y="4726"/>
                      <a:pt x="6521" y="4441"/>
                      <a:pt x="6314" y="4157"/>
                    </a:cubicBezTo>
                    <a:close/>
                    <a:moveTo>
                      <a:pt x="8212" y="2816"/>
                    </a:moveTo>
                    <a:cubicBezTo>
                      <a:pt x="8408" y="3296"/>
                      <a:pt x="8603" y="3776"/>
                      <a:pt x="8799" y="4256"/>
                    </a:cubicBezTo>
                    <a:cubicBezTo>
                      <a:pt x="8419" y="4067"/>
                      <a:pt x="8039" y="3879"/>
                      <a:pt x="7659" y="3691"/>
                    </a:cubicBezTo>
                    <a:cubicBezTo>
                      <a:pt x="7843" y="3399"/>
                      <a:pt x="8028" y="3107"/>
                      <a:pt x="8212" y="2816"/>
                    </a:cubicBezTo>
                    <a:close/>
                    <a:moveTo>
                      <a:pt x="6472" y="2455"/>
                    </a:moveTo>
                    <a:cubicBezTo>
                      <a:pt x="6009" y="2110"/>
                      <a:pt x="5546" y="1765"/>
                      <a:pt x="5083" y="1420"/>
                    </a:cubicBezTo>
                    <a:cubicBezTo>
                      <a:pt x="5579" y="1504"/>
                      <a:pt x="6075" y="1588"/>
                      <a:pt x="6571" y="1673"/>
                    </a:cubicBezTo>
                    <a:cubicBezTo>
                      <a:pt x="6538" y="1933"/>
                      <a:pt x="6505" y="2194"/>
                      <a:pt x="6472" y="2455"/>
                    </a:cubicBezTo>
                    <a:close/>
                    <a:moveTo>
                      <a:pt x="4451" y="2270"/>
                    </a:moveTo>
                    <a:cubicBezTo>
                      <a:pt x="4278" y="1853"/>
                      <a:pt x="4105" y="1437"/>
                      <a:pt x="3931" y="1021"/>
                    </a:cubicBezTo>
                    <a:cubicBezTo>
                      <a:pt x="4296" y="1149"/>
                      <a:pt x="4661" y="1278"/>
                      <a:pt x="5026" y="1407"/>
                    </a:cubicBezTo>
                    <a:cubicBezTo>
                      <a:pt x="4835" y="1694"/>
                      <a:pt x="4643" y="1982"/>
                      <a:pt x="4451" y="2270"/>
                    </a:cubicBezTo>
                    <a:close/>
                    <a:moveTo>
                      <a:pt x="3907" y="1014"/>
                    </a:moveTo>
                    <a:cubicBezTo>
                      <a:pt x="4080" y="1429"/>
                      <a:pt x="4253" y="1844"/>
                      <a:pt x="4425" y="2260"/>
                    </a:cubicBezTo>
                    <a:cubicBezTo>
                      <a:pt x="3952" y="1908"/>
                      <a:pt x="3479" y="1556"/>
                      <a:pt x="3006" y="1205"/>
                    </a:cubicBezTo>
                    <a:cubicBezTo>
                      <a:pt x="3307" y="1141"/>
                      <a:pt x="3607" y="1077"/>
                      <a:pt x="3907" y="1014"/>
                    </a:cubicBezTo>
                    <a:close/>
                    <a:moveTo>
                      <a:pt x="4422" y="2285"/>
                    </a:moveTo>
                    <a:cubicBezTo>
                      <a:pt x="3610" y="2382"/>
                      <a:pt x="2797" y="2479"/>
                      <a:pt x="1984" y="2576"/>
                    </a:cubicBezTo>
                    <a:cubicBezTo>
                      <a:pt x="2316" y="2121"/>
                      <a:pt x="2648" y="1666"/>
                      <a:pt x="2979" y="1211"/>
                    </a:cubicBezTo>
                    <a:cubicBezTo>
                      <a:pt x="3460" y="1569"/>
                      <a:pt x="3941" y="1927"/>
                      <a:pt x="4422" y="2285"/>
                    </a:cubicBezTo>
                    <a:close/>
                    <a:moveTo>
                      <a:pt x="1958" y="2623"/>
                    </a:moveTo>
                    <a:cubicBezTo>
                      <a:pt x="2081" y="3232"/>
                      <a:pt x="2203" y="3841"/>
                      <a:pt x="2325" y="4450"/>
                    </a:cubicBezTo>
                    <a:cubicBezTo>
                      <a:pt x="1921" y="4513"/>
                      <a:pt x="1517" y="4576"/>
                      <a:pt x="1112" y="4639"/>
                    </a:cubicBezTo>
                    <a:cubicBezTo>
                      <a:pt x="1394" y="3967"/>
                      <a:pt x="1676" y="3295"/>
                      <a:pt x="1958" y="2623"/>
                    </a:cubicBezTo>
                    <a:close/>
                    <a:moveTo>
                      <a:pt x="1097" y="4620"/>
                    </a:moveTo>
                    <a:cubicBezTo>
                      <a:pt x="941" y="4200"/>
                      <a:pt x="785" y="3779"/>
                      <a:pt x="628" y="3358"/>
                    </a:cubicBezTo>
                    <a:cubicBezTo>
                      <a:pt x="1066" y="3109"/>
                      <a:pt x="1503" y="2861"/>
                      <a:pt x="1940" y="2613"/>
                    </a:cubicBezTo>
                    <a:cubicBezTo>
                      <a:pt x="1659" y="3282"/>
                      <a:pt x="1378" y="3951"/>
                      <a:pt x="1097" y="4620"/>
                    </a:cubicBezTo>
                    <a:close/>
                    <a:moveTo>
                      <a:pt x="2329" y="4471"/>
                    </a:moveTo>
                    <a:cubicBezTo>
                      <a:pt x="2396" y="4957"/>
                      <a:pt x="2463" y="5442"/>
                      <a:pt x="2529" y="5927"/>
                    </a:cubicBezTo>
                    <a:cubicBezTo>
                      <a:pt x="2058" y="5508"/>
                      <a:pt x="1587" y="5089"/>
                      <a:pt x="1115" y="4669"/>
                    </a:cubicBezTo>
                    <a:cubicBezTo>
                      <a:pt x="1114" y="4667"/>
                      <a:pt x="1113" y="4664"/>
                      <a:pt x="1112" y="4661"/>
                    </a:cubicBezTo>
                    <a:cubicBezTo>
                      <a:pt x="1518" y="4598"/>
                      <a:pt x="1924" y="4535"/>
                      <a:pt x="2329" y="4471"/>
                    </a:cubicBezTo>
                    <a:close/>
                    <a:moveTo>
                      <a:pt x="2516" y="5943"/>
                    </a:moveTo>
                    <a:cubicBezTo>
                      <a:pt x="2512" y="5948"/>
                      <a:pt x="2508" y="5952"/>
                      <a:pt x="2503" y="5956"/>
                    </a:cubicBezTo>
                    <a:cubicBezTo>
                      <a:pt x="2075" y="6290"/>
                      <a:pt x="1647" y="6624"/>
                      <a:pt x="1218" y="6958"/>
                    </a:cubicBezTo>
                    <a:cubicBezTo>
                      <a:pt x="1181" y="6202"/>
                      <a:pt x="1144" y="5446"/>
                      <a:pt x="1107" y="4690"/>
                    </a:cubicBezTo>
                    <a:cubicBezTo>
                      <a:pt x="1577" y="5108"/>
                      <a:pt x="2047" y="5526"/>
                      <a:pt x="2516" y="5943"/>
                    </a:cubicBezTo>
                    <a:close/>
                    <a:moveTo>
                      <a:pt x="2355" y="7286"/>
                    </a:moveTo>
                    <a:cubicBezTo>
                      <a:pt x="2608" y="7625"/>
                      <a:pt x="2861" y="7964"/>
                      <a:pt x="3113" y="8303"/>
                    </a:cubicBezTo>
                    <a:cubicBezTo>
                      <a:pt x="2496" y="7870"/>
                      <a:pt x="1879" y="7437"/>
                      <a:pt x="1262" y="7004"/>
                    </a:cubicBezTo>
                    <a:cubicBezTo>
                      <a:pt x="1627" y="7098"/>
                      <a:pt x="1991" y="7192"/>
                      <a:pt x="2355" y="7286"/>
                    </a:cubicBezTo>
                    <a:close/>
                    <a:moveTo>
                      <a:pt x="4306" y="8235"/>
                    </a:moveTo>
                    <a:cubicBezTo>
                      <a:pt x="4464" y="8539"/>
                      <a:pt x="4621" y="8843"/>
                      <a:pt x="4778" y="9147"/>
                    </a:cubicBezTo>
                    <a:cubicBezTo>
                      <a:pt x="4251" y="8883"/>
                      <a:pt x="3724" y="8620"/>
                      <a:pt x="3196" y="8356"/>
                    </a:cubicBezTo>
                    <a:cubicBezTo>
                      <a:pt x="3566" y="8316"/>
                      <a:pt x="3936" y="8276"/>
                      <a:pt x="4306" y="8235"/>
                    </a:cubicBezTo>
                    <a:close/>
                    <a:moveTo>
                      <a:pt x="5439" y="6698"/>
                    </a:moveTo>
                    <a:cubicBezTo>
                      <a:pt x="5762" y="7077"/>
                      <a:pt x="6084" y="7455"/>
                      <a:pt x="6406" y="7833"/>
                    </a:cubicBezTo>
                    <a:cubicBezTo>
                      <a:pt x="6043" y="8033"/>
                      <a:pt x="5680" y="8233"/>
                      <a:pt x="5317" y="8433"/>
                    </a:cubicBezTo>
                    <a:cubicBezTo>
                      <a:pt x="5358" y="7855"/>
                      <a:pt x="5399" y="7277"/>
                      <a:pt x="5439" y="6698"/>
                    </a:cubicBezTo>
                    <a:close/>
                    <a:moveTo>
                      <a:pt x="7443" y="7405"/>
                    </a:moveTo>
                    <a:cubicBezTo>
                      <a:pt x="7505" y="7575"/>
                      <a:pt x="7566" y="7745"/>
                      <a:pt x="7628" y="7915"/>
                    </a:cubicBezTo>
                    <a:cubicBezTo>
                      <a:pt x="7241" y="7887"/>
                      <a:pt x="6854" y="7858"/>
                      <a:pt x="6466" y="7829"/>
                    </a:cubicBezTo>
                    <a:cubicBezTo>
                      <a:pt x="6792" y="7688"/>
                      <a:pt x="7117" y="7547"/>
                      <a:pt x="7443" y="7405"/>
                    </a:cubicBezTo>
                    <a:close/>
                    <a:moveTo>
                      <a:pt x="5460" y="6655"/>
                    </a:moveTo>
                    <a:cubicBezTo>
                      <a:pt x="5952" y="6119"/>
                      <a:pt x="6444" y="5582"/>
                      <a:pt x="6936" y="5045"/>
                    </a:cubicBezTo>
                    <a:cubicBezTo>
                      <a:pt x="7260" y="5403"/>
                      <a:pt x="7585" y="5761"/>
                      <a:pt x="7909" y="6118"/>
                    </a:cubicBezTo>
                    <a:cubicBezTo>
                      <a:pt x="7093" y="6297"/>
                      <a:pt x="6277" y="6476"/>
                      <a:pt x="5460" y="6655"/>
                    </a:cubicBezTo>
                    <a:close/>
                    <a:moveTo>
                      <a:pt x="7643" y="3718"/>
                    </a:moveTo>
                    <a:cubicBezTo>
                      <a:pt x="7828" y="4103"/>
                      <a:pt x="8013" y="4487"/>
                      <a:pt x="8198" y="4872"/>
                    </a:cubicBezTo>
                    <a:cubicBezTo>
                      <a:pt x="7784" y="4921"/>
                      <a:pt x="7369" y="4969"/>
                      <a:pt x="6955" y="5017"/>
                    </a:cubicBezTo>
                    <a:cubicBezTo>
                      <a:pt x="7184" y="4584"/>
                      <a:pt x="7414" y="4151"/>
                      <a:pt x="7643" y="3718"/>
                    </a:cubicBezTo>
                    <a:close/>
                    <a:moveTo>
                      <a:pt x="7666" y="3718"/>
                    </a:moveTo>
                    <a:cubicBezTo>
                      <a:pt x="8044" y="3905"/>
                      <a:pt x="8423" y="4092"/>
                      <a:pt x="8801" y="4280"/>
                    </a:cubicBezTo>
                    <a:cubicBezTo>
                      <a:pt x="8606" y="4474"/>
                      <a:pt x="8412" y="4669"/>
                      <a:pt x="8217" y="4863"/>
                    </a:cubicBezTo>
                    <a:cubicBezTo>
                      <a:pt x="8033" y="4481"/>
                      <a:pt x="7850" y="4100"/>
                      <a:pt x="7666" y="3718"/>
                    </a:cubicBezTo>
                    <a:close/>
                    <a:moveTo>
                      <a:pt x="8813" y="4296"/>
                    </a:moveTo>
                    <a:cubicBezTo>
                      <a:pt x="8886" y="4577"/>
                      <a:pt x="8959" y="4858"/>
                      <a:pt x="9032" y="5139"/>
                    </a:cubicBezTo>
                    <a:cubicBezTo>
                      <a:pt x="8766" y="5052"/>
                      <a:pt x="8499" y="4964"/>
                      <a:pt x="8233" y="4876"/>
                    </a:cubicBezTo>
                    <a:cubicBezTo>
                      <a:pt x="8426" y="4683"/>
                      <a:pt x="8620" y="4490"/>
                      <a:pt x="8813" y="4296"/>
                    </a:cubicBezTo>
                    <a:close/>
                    <a:moveTo>
                      <a:pt x="8815" y="4239"/>
                    </a:moveTo>
                    <a:cubicBezTo>
                      <a:pt x="8625" y="3774"/>
                      <a:pt x="8436" y="3309"/>
                      <a:pt x="8246" y="2844"/>
                    </a:cubicBezTo>
                    <a:cubicBezTo>
                      <a:pt x="8472" y="3089"/>
                      <a:pt x="8697" y="3335"/>
                      <a:pt x="8923" y="3581"/>
                    </a:cubicBezTo>
                    <a:cubicBezTo>
                      <a:pt x="8887" y="3800"/>
                      <a:pt x="8851" y="4019"/>
                      <a:pt x="8815" y="4239"/>
                    </a:cubicBezTo>
                    <a:close/>
                    <a:moveTo>
                      <a:pt x="8181" y="1976"/>
                    </a:moveTo>
                    <a:cubicBezTo>
                      <a:pt x="8375" y="2267"/>
                      <a:pt x="8569" y="2558"/>
                      <a:pt x="8763" y="2849"/>
                    </a:cubicBezTo>
                    <a:cubicBezTo>
                      <a:pt x="8583" y="2827"/>
                      <a:pt x="8404" y="2806"/>
                      <a:pt x="8224" y="2785"/>
                    </a:cubicBezTo>
                    <a:cubicBezTo>
                      <a:pt x="8210" y="2515"/>
                      <a:pt x="8195" y="2245"/>
                      <a:pt x="8181" y="1976"/>
                    </a:cubicBezTo>
                    <a:close/>
                    <a:moveTo>
                      <a:pt x="7251" y="1652"/>
                    </a:moveTo>
                    <a:cubicBezTo>
                      <a:pt x="7553" y="2015"/>
                      <a:pt x="7855" y="2378"/>
                      <a:pt x="8157" y="2742"/>
                    </a:cubicBezTo>
                    <a:cubicBezTo>
                      <a:pt x="7643" y="2386"/>
                      <a:pt x="7128" y="2030"/>
                      <a:pt x="6614" y="1674"/>
                    </a:cubicBezTo>
                    <a:cubicBezTo>
                      <a:pt x="6827" y="1666"/>
                      <a:pt x="7039" y="1659"/>
                      <a:pt x="7251" y="1652"/>
                    </a:cubicBezTo>
                    <a:close/>
                    <a:moveTo>
                      <a:pt x="5056" y="1393"/>
                    </a:moveTo>
                    <a:cubicBezTo>
                      <a:pt x="5194" y="1015"/>
                      <a:pt x="5331" y="637"/>
                      <a:pt x="5468" y="260"/>
                    </a:cubicBezTo>
                    <a:cubicBezTo>
                      <a:pt x="5832" y="723"/>
                      <a:pt x="6195" y="1186"/>
                      <a:pt x="6558" y="1649"/>
                    </a:cubicBezTo>
                    <a:cubicBezTo>
                      <a:pt x="6058" y="1563"/>
                      <a:pt x="5557" y="1478"/>
                      <a:pt x="5056" y="1393"/>
                    </a:cubicBezTo>
                    <a:close/>
                    <a:moveTo>
                      <a:pt x="4998" y="1376"/>
                    </a:moveTo>
                    <a:cubicBezTo>
                      <a:pt x="4640" y="1249"/>
                      <a:pt x="4281" y="1122"/>
                      <a:pt x="3922" y="995"/>
                    </a:cubicBezTo>
                    <a:cubicBezTo>
                      <a:pt x="3897" y="770"/>
                      <a:pt x="3872" y="545"/>
                      <a:pt x="3846" y="321"/>
                    </a:cubicBezTo>
                    <a:cubicBezTo>
                      <a:pt x="4230" y="672"/>
                      <a:pt x="4614" y="1024"/>
                      <a:pt x="4998" y="1376"/>
                    </a:cubicBezTo>
                    <a:close/>
                    <a:moveTo>
                      <a:pt x="2942" y="1226"/>
                    </a:moveTo>
                    <a:cubicBezTo>
                      <a:pt x="2615" y="1676"/>
                      <a:pt x="2287" y="2126"/>
                      <a:pt x="1959" y="2576"/>
                    </a:cubicBezTo>
                    <a:cubicBezTo>
                      <a:pt x="1683" y="2443"/>
                      <a:pt x="1407" y="2310"/>
                      <a:pt x="1130" y="2177"/>
                    </a:cubicBezTo>
                    <a:cubicBezTo>
                      <a:pt x="1734" y="1860"/>
                      <a:pt x="2338" y="1543"/>
                      <a:pt x="2942" y="1226"/>
                    </a:cubicBezTo>
                    <a:close/>
                    <a:moveTo>
                      <a:pt x="1939" y="2589"/>
                    </a:moveTo>
                    <a:cubicBezTo>
                      <a:pt x="1505" y="2835"/>
                      <a:pt x="1071" y="3082"/>
                      <a:pt x="637" y="3329"/>
                    </a:cubicBezTo>
                    <a:cubicBezTo>
                      <a:pt x="796" y="2950"/>
                      <a:pt x="954" y="2571"/>
                      <a:pt x="1112" y="2192"/>
                    </a:cubicBezTo>
                    <a:cubicBezTo>
                      <a:pt x="1388" y="2324"/>
                      <a:pt x="1664" y="2456"/>
                      <a:pt x="1939" y="2589"/>
                    </a:cubicBezTo>
                    <a:close/>
                    <a:moveTo>
                      <a:pt x="618" y="3389"/>
                    </a:moveTo>
                    <a:cubicBezTo>
                      <a:pt x="773" y="3807"/>
                      <a:pt x="928" y="4225"/>
                      <a:pt x="1083" y="4643"/>
                    </a:cubicBezTo>
                    <a:cubicBezTo>
                      <a:pt x="825" y="4658"/>
                      <a:pt x="567" y="4673"/>
                      <a:pt x="309" y="4687"/>
                    </a:cubicBezTo>
                    <a:cubicBezTo>
                      <a:pt x="412" y="4255"/>
                      <a:pt x="515" y="3822"/>
                      <a:pt x="618" y="3389"/>
                    </a:cubicBezTo>
                    <a:close/>
                    <a:moveTo>
                      <a:pt x="539" y="5963"/>
                    </a:moveTo>
                    <a:cubicBezTo>
                      <a:pt x="462" y="5545"/>
                      <a:pt x="385" y="5127"/>
                      <a:pt x="308" y="4708"/>
                    </a:cubicBezTo>
                    <a:cubicBezTo>
                      <a:pt x="565" y="4694"/>
                      <a:pt x="822" y="4679"/>
                      <a:pt x="1079" y="4664"/>
                    </a:cubicBezTo>
                    <a:cubicBezTo>
                      <a:pt x="899" y="5097"/>
                      <a:pt x="719" y="5530"/>
                      <a:pt x="539" y="5963"/>
                    </a:cubicBezTo>
                    <a:close/>
                    <a:moveTo>
                      <a:pt x="522" y="5983"/>
                    </a:moveTo>
                    <a:cubicBezTo>
                      <a:pt x="522" y="5983"/>
                      <a:pt x="522" y="5983"/>
                      <a:pt x="521" y="5982"/>
                    </a:cubicBezTo>
                    <a:cubicBezTo>
                      <a:pt x="408" y="5891"/>
                      <a:pt x="295" y="5800"/>
                      <a:pt x="181" y="5709"/>
                    </a:cubicBezTo>
                    <a:cubicBezTo>
                      <a:pt x="220" y="5395"/>
                      <a:pt x="259" y="5081"/>
                      <a:pt x="298" y="4767"/>
                    </a:cubicBezTo>
                    <a:cubicBezTo>
                      <a:pt x="373" y="5173"/>
                      <a:pt x="448" y="5578"/>
                      <a:pt x="522" y="5983"/>
                    </a:cubicBezTo>
                    <a:close/>
                    <a:moveTo>
                      <a:pt x="4332" y="8239"/>
                    </a:moveTo>
                    <a:cubicBezTo>
                      <a:pt x="4651" y="8313"/>
                      <a:pt x="4969" y="8386"/>
                      <a:pt x="5287" y="8459"/>
                    </a:cubicBezTo>
                    <a:cubicBezTo>
                      <a:pt x="5126" y="8690"/>
                      <a:pt x="4965" y="8920"/>
                      <a:pt x="4804" y="9150"/>
                    </a:cubicBezTo>
                    <a:cubicBezTo>
                      <a:pt x="4647" y="8847"/>
                      <a:pt x="4490" y="8543"/>
                      <a:pt x="4332" y="8239"/>
                    </a:cubicBezTo>
                    <a:close/>
                    <a:moveTo>
                      <a:pt x="6391" y="7866"/>
                    </a:moveTo>
                    <a:cubicBezTo>
                      <a:pt x="6188" y="8171"/>
                      <a:pt x="5985" y="8476"/>
                      <a:pt x="5781" y="8780"/>
                    </a:cubicBezTo>
                    <a:cubicBezTo>
                      <a:pt x="5629" y="8671"/>
                      <a:pt x="5477" y="8562"/>
                      <a:pt x="5324" y="8453"/>
                    </a:cubicBezTo>
                    <a:cubicBezTo>
                      <a:pt x="5680" y="8258"/>
                      <a:pt x="6036" y="8062"/>
                      <a:pt x="6391" y="7866"/>
                    </a:cubicBezTo>
                    <a:close/>
                    <a:moveTo>
                      <a:pt x="6428" y="7847"/>
                    </a:moveTo>
                    <a:cubicBezTo>
                      <a:pt x="6820" y="7877"/>
                      <a:pt x="7211" y="7906"/>
                      <a:pt x="7603" y="7935"/>
                    </a:cubicBezTo>
                    <a:cubicBezTo>
                      <a:pt x="7007" y="8213"/>
                      <a:pt x="6410" y="8491"/>
                      <a:pt x="5813" y="8769"/>
                    </a:cubicBezTo>
                    <a:cubicBezTo>
                      <a:pt x="6018" y="8462"/>
                      <a:pt x="6223" y="8155"/>
                      <a:pt x="6428" y="7847"/>
                    </a:cubicBezTo>
                    <a:close/>
                    <a:moveTo>
                      <a:pt x="8596" y="6190"/>
                    </a:moveTo>
                    <a:cubicBezTo>
                      <a:pt x="8557" y="6486"/>
                      <a:pt x="8517" y="6782"/>
                      <a:pt x="8478" y="7078"/>
                    </a:cubicBezTo>
                    <a:cubicBezTo>
                      <a:pt x="8214" y="7342"/>
                      <a:pt x="7951" y="7606"/>
                      <a:pt x="7687" y="7869"/>
                    </a:cubicBezTo>
                    <a:cubicBezTo>
                      <a:pt x="7990" y="7310"/>
                      <a:pt x="8293" y="6750"/>
                      <a:pt x="8596" y="6190"/>
                    </a:cubicBezTo>
                    <a:close/>
                    <a:moveTo>
                      <a:pt x="8619" y="6176"/>
                    </a:moveTo>
                    <a:cubicBezTo>
                      <a:pt x="8712" y="6401"/>
                      <a:pt x="8804" y="6626"/>
                      <a:pt x="8897" y="6850"/>
                    </a:cubicBezTo>
                    <a:cubicBezTo>
                      <a:pt x="8765" y="6922"/>
                      <a:pt x="8633" y="6993"/>
                      <a:pt x="8501" y="7064"/>
                    </a:cubicBezTo>
                    <a:cubicBezTo>
                      <a:pt x="8540" y="6768"/>
                      <a:pt x="8580" y="6472"/>
                      <a:pt x="8619" y="6176"/>
                    </a:cubicBezTo>
                    <a:close/>
                    <a:moveTo>
                      <a:pt x="8607" y="6125"/>
                    </a:moveTo>
                    <a:cubicBezTo>
                      <a:pt x="8383" y="6122"/>
                      <a:pt x="8158" y="6118"/>
                      <a:pt x="7934" y="6114"/>
                    </a:cubicBezTo>
                    <a:cubicBezTo>
                      <a:pt x="7609" y="5755"/>
                      <a:pt x="7283" y="5396"/>
                      <a:pt x="6958" y="5037"/>
                    </a:cubicBezTo>
                    <a:cubicBezTo>
                      <a:pt x="7376" y="4989"/>
                      <a:pt x="7795" y="4940"/>
                      <a:pt x="8213" y="4891"/>
                    </a:cubicBezTo>
                    <a:cubicBezTo>
                      <a:pt x="8486" y="4981"/>
                      <a:pt x="8760" y="5071"/>
                      <a:pt x="9033" y="5161"/>
                    </a:cubicBezTo>
                    <a:cubicBezTo>
                      <a:pt x="8891" y="5483"/>
                      <a:pt x="8749" y="5804"/>
                      <a:pt x="8607" y="6125"/>
                    </a:cubicBezTo>
                    <a:close/>
                    <a:moveTo>
                      <a:pt x="8832" y="4286"/>
                    </a:moveTo>
                    <a:cubicBezTo>
                      <a:pt x="9054" y="4264"/>
                      <a:pt x="9275" y="4242"/>
                      <a:pt x="9497" y="4221"/>
                    </a:cubicBezTo>
                    <a:cubicBezTo>
                      <a:pt x="9348" y="4522"/>
                      <a:pt x="9199" y="4824"/>
                      <a:pt x="9050" y="5126"/>
                    </a:cubicBezTo>
                    <a:cubicBezTo>
                      <a:pt x="8977" y="4846"/>
                      <a:pt x="8905" y="4566"/>
                      <a:pt x="8832" y="4286"/>
                    </a:cubicBezTo>
                    <a:close/>
                    <a:moveTo>
                      <a:pt x="8831" y="4265"/>
                    </a:moveTo>
                    <a:cubicBezTo>
                      <a:pt x="8868" y="4043"/>
                      <a:pt x="8904" y="3821"/>
                      <a:pt x="8941" y="3600"/>
                    </a:cubicBezTo>
                    <a:cubicBezTo>
                      <a:pt x="9125" y="3800"/>
                      <a:pt x="9309" y="4000"/>
                      <a:pt x="9493" y="4200"/>
                    </a:cubicBezTo>
                    <a:cubicBezTo>
                      <a:pt x="9272" y="4221"/>
                      <a:pt x="9052" y="4243"/>
                      <a:pt x="8831" y="4265"/>
                    </a:cubicBezTo>
                    <a:close/>
                    <a:moveTo>
                      <a:pt x="8241" y="2807"/>
                    </a:moveTo>
                    <a:cubicBezTo>
                      <a:pt x="8419" y="2828"/>
                      <a:pt x="8598" y="2850"/>
                      <a:pt x="8776" y="2872"/>
                    </a:cubicBezTo>
                    <a:cubicBezTo>
                      <a:pt x="8824" y="3096"/>
                      <a:pt x="8872" y="3321"/>
                      <a:pt x="8920" y="3546"/>
                    </a:cubicBezTo>
                    <a:cubicBezTo>
                      <a:pt x="8694" y="3299"/>
                      <a:pt x="8467" y="3053"/>
                      <a:pt x="8241" y="2807"/>
                    </a:cubicBezTo>
                    <a:close/>
                    <a:moveTo>
                      <a:pt x="8180" y="1936"/>
                    </a:moveTo>
                    <a:cubicBezTo>
                      <a:pt x="8201" y="1768"/>
                      <a:pt x="8221" y="1601"/>
                      <a:pt x="8242" y="1434"/>
                    </a:cubicBezTo>
                    <a:cubicBezTo>
                      <a:pt x="8409" y="1883"/>
                      <a:pt x="8577" y="2332"/>
                      <a:pt x="8744" y="2782"/>
                    </a:cubicBezTo>
                    <a:cubicBezTo>
                      <a:pt x="8556" y="2500"/>
                      <a:pt x="8368" y="2218"/>
                      <a:pt x="8180" y="1936"/>
                    </a:cubicBezTo>
                    <a:close/>
                    <a:moveTo>
                      <a:pt x="8160" y="1925"/>
                    </a:moveTo>
                    <a:cubicBezTo>
                      <a:pt x="7861" y="1828"/>
                      <a:pt x="7563" y="1731"/>
                      <a:pt x="7264" y="1634"/>
                    </a:cubicBezTo>
                    <a:cubicBezTo>
                      <a:pt x="7209" y="1398"/>
                      <a:pt x="7154" y="1163"/>
                      <a:pt x="7099" y="928"/>
                    </a:cubicBezTo>
                    <a:cubicBezTo>
                      <a:pt x="7475" y="1084"/>
                      <a:pt x="7850" y="1240"/>
                      <a:pt x="8226" y="1397"/>
                    </a:cubicBezTo>
                    <a:cubicBezTo>
                      <a:pt x="8204" y="1573"/>
                      <a:pt x="8182" y="1749"/>
                      <a:pt x="8160" y="1925"/>
                    </a:cubicBezTo>
                    <a:close/>
                    <a:moveTo>
                      <a:pt x="7239" y="1615"/>
                    </a:moveTo>
                    <a:cubicBezTo>
                      <a:pt x="6670" y="1169"/>
                      <a:pt x="6101" y="723"/>
                      <a:pt x="5531" y="277"/>
                    </a:cubicBezTo>
                    <a:cubicBezTo>
                      <a:pt x="6046" y="491"/>
                      <a:pt x="6561" y="705"/>
                      <a:pt x="7075" y="919"/>
                    </a:cubicBezTo>
                    <a:cubicBezTo>
                      <a:pt x="7130" y="1151"/>
                      <a:pt x="7184" y="1383"/>
                      <a:pt x="7239" y="1615"/>
                    </a:cubicBezTo>
                    <a:close/>
                    <a:moveTo>
                      <a:pt x="7227" y="1632"/>
                    </a:moveTo>
                    <a:cubicBezTo>
                      <a:pt x="7014" y="1639"/>
                      <a:pt x="6801" y="1646"/>
                      <a:pt x="6587" y="1654"/>
                    </a:cubicBezTo>
                    <a:cubicBezTo>
                      <a:pt x="6234" y="1202"/>
                      <a:pt x="5880" y="750"/>
                      <a:pt x="5526" y="299"/>
                    </a:cubicBezTo>
                    <a:cubicBezTo>
                      <a:pt x="6093" y="743"/>
                      <a:pt x="6660" y="1187"/>
                      <a:pt x="7227" y="1632"/>
                    </a:cubicBezTo>
                    <a:close/>
                    <a:moveTo>
                      <a:pt x="5043" y="1371"/>
                    </a:moveTo>
                    <a:cubicBezTo>
                      <a:pt x="4915" y="985"/>
                      <a:pt x="4786" y="600"/>
                      <a:pt x="4657" y="215"/>
                    </a:cubicBezTo>
                    <a:cubicBezTo>
                      <a:pt x="4921" y="226"/>
                      <a:pt x="5185" y="237"/>
                      <a:pt x="5449" y="248"/>
                    </a:cubicBezTo>
                    <a:cubicBezTo>
                      <a:pt x="5314" y="622"/>
                      <a:pt x="5179" y="996"/>
                      <a:pt x="5043" y="1371"/>
                    </a:cubicBezTo>
                    <a:close/>
                    <a:moveTo>
                      <a:pt x="3823" y="308"/>
                    </a:moveTo>
                    <a:cubicBezTo>
                      <a:pt x="3849" y="531"/>
                      <a:pt x="3875" y="755"/>
                      <a:pt x="3900" y="979"/>
                    </a:cubicBezTo>
                    <a:cubicBezTo>
                      <a:pt x="3665" y="802"/>
                      <a:pt x="3430" y="625"/>
                      <a:pt x="3195" y="449"/>
                    </a:cubicBezTo>
                    <a:cubicBezTo>
                      <a:pt x="3405" y="402"/>
                      <a:pt x="3614" y="355"/>
                      <a:pt x="3823" y="308"/>
                    </a:cubicBezTo>
                    <a:close/>
                    <a:moveTo>
                      <a:pt x="2968" y="1189"/>
                    </a:moveTo>
                    <a:cubicBezTo>
                      <a:pt x="2966" y="1190"/>
                      <a:pt x="2964" y="1192"/>
                      <a:pt x="2961" y="1194"/>
                    </a:cubicBezTo>
                    <a:cubicBezTo>
                      <a:pt x="2955" y="1195"/>
                      <a:pt x="2949" y="1196"/>
                      <a:pt x="2942" y="1197"/>
                    </a:cubicBezTo>
                    <a:cubicBezTo>
                      <a:pt x="2657" y="1167"/>
                      <a:pt x="2371" y="1138"/>
                      <a:pt x="2085" y="1109"/>
                    </a:cubicBezTo>
                    <a:cubicBezTo>
                      <a:pt x="2442" y="894"/>
                      <a:pt x="2799" y="680"/>
                      <a:pt x="3155" y="466"/>
                    </a:cubicBezTo>
                    <a:cubicBezTo>
                      <a:pt x="3093" y="707"/>
                      <a:pt x="3031" y="948"/>
                      <a:pt x="2968" y="1189"/>
                    </a:cubicBezTo>
                    <a:close/>
                    <a:moveTo>
                      <a:pt x="2057" y="1127"/>
                    </a:moveTo>
                    <a:cubicBezTo>
                      <a:pt x="2344" y="1156"/>
                      <a:pt x="2631" y="1186"/>
                      <a:pt x="2918" y="1216"/>
                    </a:cubicBezTo>
                    <a:cubicBezTo>
                      <a:pt x="2330" y="1524"/>
                      <a:pt x="1741" y="1833"/>
                      <a:pt x="1152" y="2142"/>
                    </a:cubicBezTo>
                    <a:cubicBezTo>
                      <a:pt x="1454" y="1803"/>
                      <a:pt x="1756" y="1465"/>
                      <a:pt x="2057" y="1127"/>
                    </a:cubicBezTo>
                    <a:close/>
                    <a:moveTo>
                      <a:pt x="613" y="3332"/>
                    </a:moveTo>
                    <a:cubicBezTo>
                      <a:pt x="531" y="3221"/>
                      <a:pt x="449" y="3110"/>
                      <a:pt x="366" y="3000"/>
                    </a:cubicBezTo>
                    <a:cubicBezTo>
                      <a:pt x="603" y="2742"/>
                      <a:pt x="839" y="2484"/>
                      <a:pt x="1075" y="2227"/>
                    </a:cubicBezTo>
                    <a:cubicBezTo>
                      <a:pt x="921" y="2595"/>
                      <a:pt x="767" y="2963"/>
                      <a:pt x="613" y="3332"/>
                    </a:cubicBezTo>
                    <a:close/>
                    <a:moveTo>
                      <a:pt x="604" y="3355"/>
                    </a:moveTo>
                    <a:cubicBezTo>
                      <a:pt x="506" y="3768"/>
                      <a:pt x="408" y="4182"/>
                      <a:pt x="310" y="4595"/>
                    </a:cubicBezTo>
                    <a:cubicBezTo>
                      <a:pt x="328" y="4074"/>
                      <a:pt x="345" y="3552"/>
                      <a:pt x="362" y="3030"/>
                    </a:cubicBezTo>
                    <a:cubicBezTo>
                      <a:pt x="443" y="3138"/>
                      <a:pt x="524" y="3246"/>
                      <a:pt x="604" y="3355"/>
                    </a:cubicBezTo>
                    <a:close/>
                    <a:moveTo>
                      <a:pt x="169" y="5639"/>
                    </a:moveTo>
                    <a:cubicBezTo>
                      <a:pt x="121" y="5329"/>
                      <a:pt x="72" y="5019"/>
                      <a:pt x="23" y="4709"/>
                    </a:cubicBezTo>
                    <a:cubicBezTo>
                      <a:pt x="110" y="4709"/>
                      <a:pt x="197" y="4709"/>
                      <a:pt x="284" y="4709"/>
                    </a:cubicBezTo>
                    <a:cubicBezTo>
                      <a:pt x="246" y="5019"/>
                      <a:pt x="208" y="5329"/>
                      <a:pt x="169" y="5639"/>
                    </a:cubicBezTo>
                    <a:close/>
                    <a:moveTo>
                      <a:pt x="505" y="5995"/>
                    </a:moveTo>
                    <a:cubicBezTo>
                      <a:pt x="515" y="6010"/>
                      <a:pt x="525" y="6024"/>
                      <a:pt x="535" y="6038"/>
                    </a:cubicBezTo>
                    <a:cubicBezTo>
                      <a:pt x="639" y="6421"/>
                      <a:pt x="742" y="6804"/>
                      <a:pt x="845" y="7187"/>
                    </a:cubicBezTo>
                    <a:cubicBezTo>
                      <a:pt x="630" y="6708"/>
                      <a:pt x="414" y="6229"/>
                      <a:pt x="198" y="5749"/>
                    </a:cubicBezTo>
                    <a:cubicBezTo>
                      <a:pt x="301" y="5831"/>
                      <a:pt x="403" y="5913"/>
                      <a:pt x="505" y="5995"/>
                    </a:cubicBezTo>
                    <a:close/>
                    <a:moveTo>
                      <a:pt x="1206" y="6998"/>
                    </a:moveTo>
                    <a:cubicBezTo>
                      <a:pt x="1397" y="7376"/>
                      <a:pt x="1587" y="7753"/>
                      <a:pt x="1777" y="8130"/>
                    </a:cubicBezTo>
                    <a:cubicBezTo>
                      <a:pt x="1486" y="7857"/>
                      <a:pt x="1195" y="7584"/>
                      <a:pt x="904" y="7311"/>
                    </a:cubicBezTo>
                    <a:cubicBezTo>
                      <a:pt x="1005" y="7207"/>
                      <a:pt x="1106" y="7103"/>
                      <a:pt x="1206" y="6998"/>
                    </a:cubicBezTo>
                    <a:close/>
                    <a:moveTo>
                      <a:pt x="1261" y="7061"/>
                    </a:moveTo>
                    <a:cubicBezTo>
                      <a:pt x="1688" y="7583"/>
                      <a:pt x="2114" y="8104"/>
                      <a:pt x="2540" y="8625"/>
                    </a:cubicBezTo>
                    <a:cubicBezTo>
                      <a:pt x="2301" y="8474"/>
                      <a:pt x="2061" y="8323"/>
                      <a:pt x="1821" y="8171"/>
                    </a:cubicBezTo>
                    <a:cubicBezTo>
                      <a:pt x="1635" y="7801"/>
                      <a:pt x="1448" y="7431"/>
                      <a:pt x="1261" y="7061"/>
                    </a:cubicBezTo>
                    <a:close/>
                    <a:moveTo>
                      <a:pt x="3155" y="8364"/>
                    </a:moveTo>
                    <a:cubicBezTo>
                      <a:pt x="3275" y="8599"/>
                      <a:pt x="3395" y="8834"/>
                      <a:pt x="3514" y="9069"/>
                    </a:cubicBezTo>
                    <a:cubicBezTo>
                      <a:pt x="3214" y="8935"/>
                      <a:pt x="2913" y="8801"/>
                      <a:pt x="2612" y="8667"/>
                    </a:cubicBezTo>
                    <a:cubicBezTo>
                      <a:pt x="2793" y="8566"/>
                      <a:pt x="2974" y="8465"/>
                      <a:pt x="3155" y="8364"/>
                    </a:cubicBezTo>
                    <a:close/>
                    <a:moveTo>
                      <a:pt x="4743" y="9177"/>
                    </a:moveTo>
                    <a:cubicBezTo>
                      <a:pt x="4516" y="9243"/>
                      <a:pt x="4289" y="9310"/>
                      <a:pt x="4062" y="9376"/>
                    </a:cubicBezTo>
                    <a:cubicBezTo>
                      <a:pt x="3902" y="9285"/>
                      <a:pt x="3742" y="9195"/>
                      <a:pt x="3581" y="9104"/>
                    </a:cubicBezTo>
                    <a:cubicBezTo>
                      <a:pt x="3969" y="9128"/>
                      <a:pt x="4356" y="9153"/>
                      <a:pt x="4743" y="9177"/>
                    </a:cubicBezTo>
                    <a:close/>
                    <a:moveTo>
                      <a:pt x="5307" y="8466"/>
                    </a:moveTo>
                    <a:cubicBezTo>
                      <a:pt x="5459" y="8575"/>
                      <a:pt x="5611" y="8683"/>
                      <a:pt x="5762" y="8791"/>
                    </a:cubicBezTo>
                    <a:cubicBezTo>
                      <a:pt x="5452" y="8910"/>
                      <a:pt x="5142" y="9030"/>
                      <a:pt x="4831" y="9149"/>
                    </a:cubicBezTo>
                    <a:cubicBezTo>
                      <a:pt x="4990" y="8921"/>
                      <a:pt x="5149" y="8694"/>
                      <a:pt x="5307" y="8466"/>
                    </a:cubicBezTo>
                    <a:close/>
                    <a:moveTo>
                      <a:pt x="7632" y="7952"/>
                    </a:moveTo>
                    <a:cubicBezTo>
                      <a:pt x="7625" y="8124"/>
                      <a:pt x="7618" y="8295"/>
                      <a:pt x="7611" y="8466"/>
                    </a:cubicBezTo>
                    <a:cubicBezTo>
                      <a:pt x="7386" y="8505"/>
                      <a:pt x="7161" y="8544"/>
                      <a:pt x="6936" y="8583"/>
                    </a:cubicBezTo>
                    <a:cubicBezTo>
                      <a:pt x="7168" y="8373"/>
                      <a:pt x="7400" y="8163"/>
                      <a:pt x="7632" y="7952"/>
                    </a:cubicBezTo>
                    <a:close/>
                    <a:moveTo>
                      <a:pt x="7654" y="7930"/>
                    </a:moveTo>
                    <a:cubicBezTo>
                      <a:pt x="7913" y="7672"/>
                      <a:pt x="8172" y="7413"/>
                      <a:pt x="8431" y="7154"/>
                    </a:cubicBezTo>
                    <a:cubicBezTo>
                      <a:pt x="8165" y="7581"/>
                      <a:pt x="7899" y="8008"/>
                      <a:pt x="7633" y="8435"/>
                    </a:cubicBezTo>
                    <a:cubicBezTo>
                      <a:pt x="7640" y="8267"/>
                      <a:pt x="7647" y="8099"/>
                      <a:pt x="7654" y="7930"/>
                    </a:cubicBezTo>
                    <a:close/>
                    <a:moveTo>
                      <a:pt x="8495" y="7091"/>
                    </a:moveTo>
                    <a:cubicBezTo>
                      <a:pt x="8620" y="7024"/>
                      <a:pt x="8745" y="6956"/>
                      <a:pt x="8870" y="6888"/>
                    </a:cubicBezTo>
                    <a:cubicBezTo>
                      <a:pt x="8488" y="7368"/>
                      <a:pt x="8107" y="7847"/>
                      <a:pt x="7725" y="8326"/>
                    </a:cubicBezTo>
                    <a:cubicBezTo>
                      <a:pt x="7982" y="7915"/>
                      <a:pt x="8238" y="7503"/>
                      <a:pt x="8495" y="7091"/>
                    </a:cubicBezTo>
                    <a:close/>
                    <a:moveTo>
                      <a:pt x="8903" y="6810"/>
                    </a:moveTo>
                    <a:cubicBezTo>
                      <a:pt x="8810" y="6585"/>
                      <a:pt x="8717" y="6360"/>
                      <a:pt x="8624" y="6135"/>
                    </a:cubicBezTo>
                    <a:cubicBezTo>
                      <a:pt x="8760" y="5829"/>
                      <a:pt x="8895" y="5522"/>
                      <a:pt x="9031" y="5215"/>
                    </a:cubicBezTo>
                    <a:cubicBezTo>
                      <a:pt x="8988" y="5747"/>
                      <a:pt x="8946" y="6279"/>
                      <a:pt x="8903" y="6810"/>
                    </a:cubicBezTo>
                    <a:close/>
                    <a:moveTo>
                      <a:pt x="8941" y="3546"/>
                    </a:moveTo>
                    <a:cubicBezTo>
                      <a:pt x="8894" y="3325"/>
                      <a:pt x="8847" y="3104"/>
                      <a:pt x="8800" y="2883"/>
                    </a:cubicBezTo>
                    <a:cubicBezTo>
                      <a:pt x="8928" y="2964"/>
                      <a:pt x="9055" y="3046"/>
                      <a:pt x="9183" y="3128"/>
                    </a:cubicBezTo>
                    <a:cubicBezTo>
                      <a:pt x="9102" y="3267"/>
                      <a:pt x="9022" y="3406"/>
                      <a:pt x="8941" y="3546"/>
                    </a:cubicBezTo>
                    <a:close/>
                    <a:moveTo>
                      <a:pt x="7020" y="873"/>
                    </a:moveTo>
                    <a:cubicBezTo>
                      <a:pt x="6521" y="665"/>
                      <a:pt x="6022" y="458"/>
                      <a:pt x="5522" y="251"/>
                    </a:cubicBezTo>
                    <a:cubicBezTo>
                      <a:pt x="5776" y="261"/>
                      <a:pt x="6029" y="272"/>
                      <a:pt x="6282" y="283"/>
                    </a:cubicBezTo>
                    <a:cubicBezTo>
                      <a:pt x="6528" y="479"/>
                      <a:pt x="6774" y="676"/>
                      <a:pt x="7020" y="873"/>
                    </a:cubicBezTo>
                    <a:close/>
                    <a:moveTo>
                      <a:pt x="5244" y="22"/>
                    </a:moveTo>
                    <a:cubicBezTo>
                      <a:pt x="5309" y="90"/>
                      <a:pt x="5374" y="158"/>
                      <a:pt x="5439" y="227"/>
                    </a:cubicBezTo>
                    <a:cubicBezTo>
                      <a:pt x="5193" y="216"/>
                      <a:pt x="4947" y="206"/>
                      <a:pt x="4701" y="196"/>
                    </a:cubicBezTo>
                    <a:cubicBezTo>
                      <a:pt x="4882" y="138"/>
                      <a:pt x="5063" y="80"/>
                      <a:pt x="5244" y="22"/>
                    </a:cubicBezTo>
                    <a:close/>
                    <a:moveTo>
                      <a:pt x="2446" y="567"/>
                    </a:moveTo>
                    <a:cubicBezTo>
                      <a:pt x="2940" y="398"/>
                      <a:pt x="3434" y="230"/>
                      <a:pt x="3927" y="62"/>
                    </a:cubicBezTo>
                    <a:cubicBezTo>
                      <a:pt x="3893" y="136"/>
                      <a:pt x="3859" y="211"/>
                      <a:pt x="3825" y="286"/>
                    </a:cubicBezTo>
                    <a:cubicBezTo>
                      <a:pt x="3607" y="335"/>
                      <a:pt x="3388" y="384"/>
                      <a:pt x="3169" y="434"/>
                    </a:cubicBezTo>
                    <a:cubicBezTo>
                      <a:pt x="2795" y="658"/>
                      <a:pt x="2421" y="883"/>
                      <a:pt x="2047" y="1108"/>
                    </a:cubicBezTo>
                    <a:cubicBezTo>
                      <a:pt x="1865" y="1156"/>
                      <a:pt x="1683" y="1204"/>
                      <a:pt x="1500" y="1252"/>
                    </a:cubicBezTo>
                    <a:cubicBezTo>
                      <a:pt x="1816" y="1023"/>
                      <a:pt x="2131" y="795"/>
                      <a:pt x="2446" y="567"/>
                    </a:cubicBezTo>
                    <a:close/>
                    <a:moveTo>
                      <a:pt x="1456" y="1285"/>
                    </a:moveTo>
                    <a:cubicBezTo>
                      <a:pt x="1645" y="1235"/>
                      <a:pt x="1834" y="1185"/>
                      <a:pt x="2023" y="1135"/>
                    </a:cubicBezTo>
                    <a:cubicBezTo>
                      <a:pt x="1728" y="1466"/>
                      <a:pt x="1432" y="1797"/>
                      <a:pt x="1136" y="2128"/>
                    </a:cubicBezTo>
                    <a:cubicBezTo>
                      <a:pt x="1243" y="1847"/>
                      <a:pt x="1350" y="1566"/>
                      <a:pt x="1456" y="1285"/>
                    </a:cubicBezTo>
                    <a:close/>
                    <a:moveTo>
                      <a:pt x="1097" y="2174"/>
                    </a:moveTo>
                    <a:cubicBezTo>
                      <a:pt x="873" y="2417"/>
                      <a:pt x="649" y="2661"/>
                      <a:pt x="425" y="2905"/>
                    </a:cubicBezTo>
                    <a:cubicBezTo>
                      <a:pt x="751" y="2392"/>
                      <a:pt x="1077" y="1880"/>
                      <a:pt x="1402" y="1368"/>
                    </a:cubicBezTo>
                    <a:cubicBezTo>
                      <a:pt x="1301" y="1636"/>
                      <a:pt x="1199" y="1905"/>
                      <a:pt x="1097" y="2174"/>
                    </a:cubicBezTo>
                    <a:close/>
                    <a:moveTo>
                      <a:pt x="286" y="4688"/>
                    </a:moveTo>
                    <a:cubicBezTo>
                      <a:pt x="199" y="4688"/>
                      <a:pt x="111" y="4688"/>
                      <a:pt x="23" y="4688"/>
                    </a:cubicBezTo>
                    <a:cubicBezTo>
                      <a:pt x="128" y="4167"/>
                      <a:pt x="233" y="3646"/>
                      <a:pt x="338" y="3125"/>
                    </a:cubicBezTo>
                    <a:cubicBezTo>
                      <a:pt x="321" y="3646"/>
                      <a:pt x="304" y="4167"/>
                      <a:pt x="286" y="4688"/>
                    </a:cubicBezTo>
                    <a:close/>
                    <a:moveTo>
                      <a:pt x="1903" y="8247"/>
                    </a:moveTo>
                    <a:cubicBezTo>
                      <a:pt x="2126" y="8388"/>
                      <a:pt x="2349" y="8529"/>
                      <a:pt x="2571" y="8669"/>
                    </a:cubicBezTo>
                    <a:cubicBezTo>
                      <a:pt x="2532" y="8699"/>
                      <a:pt x="2493" y="8728"/>
                      <a:pt x="2453" y="8757"/>
                    </a:cubicBezTo>
                    <a:cubicBezTo>
                      <a:pt x="2270" y="8587"/>
                      <a:pt x="2087" y="8417"/>
                      <a:pt x="1903" y="8247"/>
                    </a:cubicBezTo>
                    <a:close/>
                    <a:moveTo>
                      <a:pt x="2474" y="8768"/>
                    </a:moveTo>
                    <a:cubicBezTo>
                      <a:pt x="2513" y="8739"/>
                      <a:pt x="2552" y="8710"/>
                      <a:pt x="2590" y="8680"/>
                    </a:cubicBezTo>
                    <a:cubicBezTo>
                      <a:pt x="2904" y="8820"/>
                      <a:pt x="3218" y="8960"/>
                      <a:pt x="3531" y="9100"/>
                    </a:cubicBezTo>
                    <a:cubicBezTo>
                      <a:pt x="3658" y="9172"/>
                      <a:pt x="3785" y="9243"/>
                      <a:pt x="3911" y="9315"/>
                    </a:cubicBezTo>
                    <a:cubicBezTo>
                      <a:pt x="3647" y="9206"/>
                      <a:pt x="3382" y="9098"/>
                      <a:pt x="3117" y="8989"/>
                    </a:cubicBezTo>
                    <a:cubicBezTo>
                      <a:pt x="2903" y="8915"/>
                      <a:pt x="2689" y="8842"/>
                      <a:pt x="2474" y="8768"/>
                    </a:cubicBezTo>
                    <a:close/>
                    <a:moveTo>
                      <a:pt x="4844" y="9166"/>
                    </a:moveTo>
                    <a:cubicBezTo>
                      <a:pt x="5155" y="9047"/>
                      <a:pt x="5465" y="8927"/>
                      <a:pt x="5775" y="8808"/>
                    </a:cubicBezTo>
                    <a:cubicBezTo>
                      <a:pt x="5798" y="8972"/>
                      <a:pt x="5821" y="9136"/>
                      <a:pt x="5843" y="9300"/>
                    </a:cubicBezTo>
                    <a:cubicBezTo>
                      <a:pt x="5510" y="9255"/>
                      <a:pt x="5177" y="9211"/>
                      <a:pt x="4844" y="9166"/>
                    </a:cubicBezTo>
                    <a:close/>
                    <a:moveTo>
                      <a:pt x="5864" y="9294"/>
                    </a:moveTo>
                    <a:cubicBezTo>
                      <a:pt x="5841" y="9130"/>
                      <a:pt x="5818" y="8967"/>
                      <a:pt x="5795" y="8803"/>
                    </a:cubicBezTo>
                    <a:cubicBezTo>
                      <a:pt x="6149" y="8742"/>
                      <a:pt x="6503" y="8680"/>
                      <a:pt x="6857" y="8618"/>
                    </a:cubicBezTo>
                    <a:cubicBezTo>
                      <a:pt x="6526" y="8844"/>
                      <a:pt x="6195" y="9069"/>
                      <a:pt x="5864" y="9294"/>
                    </a:cubicBezTo>
                    <a:close/>
                    <a:moveTo>
                      <a:pt x="8927" y="6766"/>
                    </a:moveTo>
                    <a:cubicBezTo>
                      <a:pt x="8970" y="6232"/>
                      <a:pt x="9014" y="5698"/>
                      <a:pt x="9057" y="5163"/>
                    </a:cubicBezTo>
                    <a:cubicBezTo>
                      <a:pt x="9197" y="5127"/>
                      <a:pt x="9336" y="5091"/>
                      <a:pt x="9476" y="5055"/>
                    </a:cubicBezTo>
                    <a:cubicBezTo>
                      <a:pt x="9293" y="5626"/>
                      <a:pt x="9110" y="6196"/>
                      <a:pt x="8927" y="6766"/>
                    </a:cubicBezTo>
                    <a:close/>
                  </a:path>
                </a:pathLst>
              </a:custGeom>
              <a:solidFill>
                <a:srgbClr val="D0D2D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06" name="Freeform 163"/>
              <p:cNvSpPr>
                <a:spLocks noChangeArrowheads="1"/>
              </p:cNvSpPr>
              <p:nvPr/>
            </p:nvSpPr>
            <p:spPr bwMode="auto">
              <a:xfrm>
                <a:off x="230189" y="4426715"/>
                <a:ext cx="596900" cy="250825"/>
              </a:xfrm>
              <a:custGeom>
                <a:avLst/>
                <a:gdLst>
                  <a:gd name="T0" fmla="*/ 0 w 1664"/>
                  <a:gd name="T1" fmla="*/ 0 h 703"/>
                  <a:gd name="T2" fmla="*/ 0 w 1664"/>
                  <a:gd name="T3" fmla="*/ 0 h 703"/>
                  <a:gd name="T4" fmla="*/ 0 w 1664"/>
                  <a:gd name="T5" fmla="*/ 5 h 703"/>
                  <a:gd name="T6" fmla="*/ 9 w 1664"/>
                  <a:gd name="T7" fmla="*/ 8 h 703"/>
                  <a:gd name="T8" fmla="*/ 19 w 1664"/>
                  <a:gd name="T9" fmla="*/ 5 h 703"/>
                  <a:gd name="T10" fmla="*/ 19 w 1664"/>
                  <a:gd name="T11" fmla="*/ 0 h 703"/>
                  <a:gd name="T12" fmla="*/ 0 w 1664"/>
                  <a:gd name="T13" fmla="*/ 0 h 70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4"/>
                      <a:pt x="0" y="289"/>
                      <a:pt x="0" y="434"/>
                    </a:cubicBezTo>
                    <a:cubicBezTo>
                      <a:pt x="0" y="582"/>
                      <a:pt x="372" y="702"/>
                      <a:pt x="831" y="702"/>
                    </a:cubicBezTo>
                    <a:cubicBezTo>
                      <a:pt x="1290" y="702"/>
                      <a:pt x="1663" y="582"/>
                      <a:pt x="1663" y="434"/>
                    </a:cubicBezTo>
                    <a:cubicBezTo>
                      <a:pt x="1663" y="0"/>
                      <a:pt x="1663" y="144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3CABB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07" name="Freeform 164"/>
              <p:cNvSpPr>
                <a:spLocks noChangeArrowheads="1"/>
              </p:cNvSpPr>
              <p:nvPr/>
            </p:nvSpPr>
            <p:spPr bwMode="auto">
              <a:xfrm>
                <a:off x="352426" y="4426715"/>
                <a:ext cx="241300" cy="250825"/>
              </a:xfrm>
              <a:custGeom>
                <a:avLst/>
                <a:gdLst>
                  <a:gd name="T0" fmla="*/ 0 w 673"/>
                  <a:gd name="T1" fmla="*/ 7 h 703"/>
                  <a:gd name="T2" fmla="*/ 0 w 673"/>
                  <a:gd name="T3" fmla="*/ 7 h 703"/>
                  <a:gd name="T4" fmla="*/ 6 w 673"/>
                  <a:gd name="T5" fmla="*/ 8 h 703"/>
                  <a:gd name="T6" fmla="*/ 8 w 673"/>
                  <a:gd name="T7" fmla="*/ 8 h 703"/>
                  <a:gd name="T8" fmla="*/ 8 w 673"/>
                  <a:gd name="T9" fmla="*/ 0 h 703"/>
                  <a:gd name="T10" fmla="*/ 0 w 673"/>
                  <a:gd name="T11" fmla="*/ 0 h 703"/>
                  <a:gd name="T12" fmla="*/ 0 w 673"/>
                  <a:gd name="T13" fmla="*/ 7 h 70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3" h="703">
                    <a:moveTo>
                      <a:pt x="0" y="650"/>
                    </a:moveTo>
                    <a:lnTo>
                      <a:pt x="0" y="650"/>
                    </a:lnTo>
                    <a:cubicBezTo>
                      <a:pt x="137" y="683"/>
                      <a:pt x="307" y="702"/>
                      <a:pt x="490" y="702"/>
                    </a:cubicBezTo>
                    <a:cubicBezTo>
                      <a:pt x="552" y="702"/>
                      <a:pt x="614" y="700"/>
                      <a:pt x="672" y="696"/>
                    </a:cubicBezTo>
                    <a:cubicBezTo>
                      <a:pt x="672" y="0"/>
                      <a:pt x="672" y="232"/>
                      <a:pt x="672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0"/>
                    </a:cubicBezTo>
                  </a:path>
                </a:pathLst>
              </a:custGeom>
              <a:solidFill>
                <a:srgbClr val="35C9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08" name="Freeform 165"/>
              <p:cNvSpPr>
                <a:spLocks noChangeArrowheads="1"/>
              </p:cNvSpPr>
              <p:nvPr/>
            </p:nvSpPr>
            <p:spPr bwMode="auto">
              <a:xfrm>
                <a:off x="230189" y="4329877"/>
                <a:ext cx="596900" cy="192088"/>
              </a:xfrm>
              <a:custGeom>
                <a:avLst/>
                <a:gdLst>
                  <a:gd name="T0" fmla="*/ 19 w 1664"/>
                  <a:gd name="T1" fmla="*/ 3 h 539"/>
                  <a:gd name="T2" fmla="*/ 19 w 1664"/>
                  <a:gd name="T3" fmla="*/ 3 h 539"/>
                  <a:gd name="T4" fmla="*/ 9 w 1664"/>
                  <a:gd name="T5" fmla="*/ 6 h 539"/>
                  <a:gd name="T6" fmla="*/ 0 w 1664"/>
                  <a:gd name="T7" fmla="*/ 3 h 539"/>
                  <a:gd name="T8" fmla="*/ 9 w 1664"/>
                  <a:gd name="T9" fmla="*/ 0 h 539"/>
                  <a:gd name="T10" fmla="*/ 19 w 1664"/>
                  <a:gd name="T11" fmla="*/ 3 h 5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39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8"/>
                      <a:pt x="831" y="538"/>
                    </a:cubicBezTo>
                    <a:cubicBezTo>
                      <a:pt x="372" y="538"/>
                      <a:pt x="0" y="418"/>
                      <a:pt x="0" y="269"/>
                    </a:cubicBezTo>
                    <a:cubicBezTo>
                      <a:pt x="0" y="121"/>
                      <a:pt x="372" y="0"/>
                      <a:pt x="831" y="0"/>
                    </a:cubicBezTo>
                    <a:cubicBezTo>
                      <a:pt x="1290" y="0"/>
                      <a:pt x="1663" y="121"/>
                      <a:pt x="1663" y="269"/>
                    </a:cubicBezTo>
                  </a:path>
                </a:pathLst>
              </a:custGeom>
              <a:solidFill>
                <a:srgbClr val="21737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09" name="Freeform 166"/>
              <p:cNvSpPr>
                <a:spLocks noChangeArrowheads="1"/>
              </p:cNvSpPr>
              <p:nvPr/>
            </p:nvSpPr>
            <p:spPr bwMode="auto">
              <a:xfrm>
                <a:off x="230189" y="4244152"/>
                <a:ext cx="596900" cy="252413"/>
              </a:xfrm>
              <a:custGeom>
                <a:avLst/>
                <a:gdLst>
                  <a:gd name="T0" fmla="*/ 0 w 1664"/>
                  <a:gd name="T1" fmla="*/ 0 h 704"/>
                  <a:gd name="T2" fmla="*/ 0 w 1664"/>
                  <a:gd name="T3" fmla="*/ 0 h 704"/>
                  <a:gd name="T4" fmla="*/ 0 w 1664"/>
                  <a:gd name="T5" fmla="*/ 5 h 704"/>
                  <a:gd name="T6" fmla="*/ 9 w 1664"/>
                  <a:gd name="T7" fmla="*/ 8 h 704"/>
                  <a:gd name="T8" fmla="*/ 19 w 1664"/>
                  <a:gd name="T9" fmla="*/ 5 h 704"/>
                  <a:gd name="T10" fmla="*/ 19 w 1664"/>
                  <a:gd name="T11" fmla="*/ 0 h 704"/>
                  <a:gd name="T12" fmla="*/ 0 w 1664"/>
                  <a:gd name="T13" fmla="*/ 0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3"/>
                      <a:pt x="0" y="288"/>
                      <a:pt x="0" y="433"/>
                    </a:cubicBezTo>
                    <a:cubicBezTo>
                      <a:pt x="0" y="582"/>
                      <a:pt x="372" y="703"/>
                      <a:pt x="831" y="703"/>
                    </a:cubicBezTo>
                    <a:cubicBezTo>
                      <a:pt x="1290" y="703"/>
                      <a:pt x="1663" y="582"/>
                      <a:pt x="1663" y="433"/>
                    </a:cubicBezTo>
                    <a:cubicBezTo>
                      <a:pt x="1663" y="0"/>
                      <a:pt x="1663" y="144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3CABB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0" name="Freeform 167"/>
              <p:cNvSpPr>
                <a:spLocks noChangeArrowheads="1"/>
              </p:cNvSpPr>
              <p:nvPr/>
            </p:nvSpPr>
            <p:spPr bwMode="auto">
              <a:xfrm>
                <a:off x="352426" y="4244152"/>
                <a:ext cx="241300" cy="252413"/>
              </a:xfrm>
              <a:custGeom>
                <a:avLst/>
                <a:gdLst>
                  <a:gd name="T0" fmla="*/ 0 w 673"/>
                  <a:gd name="T1" fmla="*/ 7 h 704"/>
                  <a:gd name="T2" fmla="*/ 0 w 673"/>
                  <a:gd name="T3" fmla="*/ 7 h 704"/>
                  <a:gd name="T4" fmla="*/ 6 w 673"/>
                  <a:gd name="T5" fmla="*/ 8 h 704"/>
                  <a:gd name="T6" fmla="*/ 8 w 673"/>
                  <a:gd name="T7" fmla="*/ 8 h 704"/>
                  <a:gd name="T8" fmla="*/ 8 w 673"/>
                  <a:gd name="T9" fmla="*/ 0 h 704"/>
                  <a:gd name="T10" fmla="*/ 0 w 673"/>
                  <a:gd name="T11" fmla="*/ 0 h 704"/>
                  <a:gd name="T12" fmla="*/ 0 w 673"/>
                  <a:gd name="T13" fmla="*/ 7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3" h="704">
                    <a:moveTo>
                      <a:pt x="0" y="651"/>
                    </a:moveTo>
                    <a:lnTo>
                      <a:pt x="0" y="651"/>
                    </a:lnTo>
                    <a:cubicBezTo>
                      <a:pt x="137" y="683"/>
                      <a:pt x="307" y="703"/>
                      <a:pt x="490" y="703"/>
                    </a:cubicBezTo>
                    <a:cubicBezTo>
                      <a:pt x="552" y="703"/>
                      <a:pt x="614" y="700"/>
                      <a:pt x="672" y="696"/>
                    </a:cubicBezTo>
                    <a:cubicBezTo>
                      <a:pt x="672" y="0"/>
                      <a:pt x="672" y="232"/>
                      <a:pt x="672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1"/>
                    </a:cubicBezTo>
                  </a:path>
                </a:pathLst>
              </a:custGeom>
              <a:solidFill>
                <a:srgbClr val="35C9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1" name="Freeform 168"/>
              <p:cNvSpPr>
                <a:spLocks noChangeArrowheads="1"/>
              </p:cNvSpPr>
              <p:nvPr/>
            </p:nvSpPr>
            <p:spPr bwMode="auto">
              <a:xfrm>
                <a:off x="230189" y="4147315"/>
                <a:ext cx="596900" cy="192088"/>
              </a:xfrm>
              <a:custGeom>
                <a:avLst/>
                <a:gdLst>
                  <a:gd name="T0" fmla="*/ 19 w 1664"/>
                  <a:gd name="T1" fmla="*/ 3 h 540"/>
                  <a:gd name="T2" fmla="*/ 19 w 1664"/>
                  <a:gd name="T3" fmla="*/ 3 h 540"/>
                  <a:gd name="T4" fmla="*/ 9 w 1664"/>
                  <a:gd name="T5" fmla="*/ 6 h 540"/>
                  <a:gd name="T6" fmla="*/ 0 w 1664"/>
                  <a:gd name="T7" fmla="*/ 3 h 540"/>
                  <a:gd name="T8" fmla="*/ 9 w 1664"/>
                  <a:gd name="T9" fmla="*/ 0 h 540"/>
                  <a:gd name="T10" fmla="*/ 19 w 1664"/>
                  <a:gd name="T11" fmla="*/ 3 h 5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40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9"/>
                      <a:pt x="831" y="539"/>
                    </a:cubicBezTo>
                    <a:cubicBezTo>
                      <a:pt x="372" y="539"/>
                      <a:pt x="0" y="418"/>
                      <a:pt x="0" y="269"/>
                    </a:cubicBezTo>
                    <a:cubicBezTo>
                      <a:pt x="0" y="120"/>
                      <a:pt x="372" y="0"/>
                      <a:pt x="831" y="0"/>
                    </a:cubicBezTo>
                    <a:cubicBezTo>
                      <a:pt x="1290" y="0"/>
                      <a:pt x="1663" y="120"/>
                      <a:pt x="1663" y="269"/>
                    </a:cubicBezTo>
                  </a:path>
                </a:pathLst>
              </a:custGeom>
              <a:solidFill>
                <a:srgbClr val="21737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2" name="Freeform 169"/>
              <p:cNvSpPr>
                <a:spLocks noChangeArrowheads="1"/>
              </p:cNvSpPr>
              <p:nvPr/>
            </p:nvSpPr>
            <p:spPr bwMode="auto">
              <a:xfrm>
                <a:off x="230189" y="4060002"/>
                <a:ext cx="596900" cy="252413"/>
              </a:xfrm>
              <a:custGeom>
                <a:avLst/>
                <a:gdLst>
                  <a:gd name="T0" fmla="*/ 0 w 1664"/>
                  <a:gd name="T1" fmla="*/ 0 h 704"/>
                  <a:gd name="T2" fmla="*/ 0 w 1664"/>
                  <a:gd name="T3" fmla="*/ 0 h 704"/>
                  <a:gd name="T4" fmla="*/ 0 w 1664"/>
                  <a:gd name="T5" fmla="*/ 5 h 704"/>
                  <a:gd name="T6" fmla="*/ 9 w 1664"/>
                  <a:gd name="T7" fmla="*/ 8 h 704"/>
                  <a:gd name="T8" fmla="*/ 19 w 1664"/>
                  <a:gd name="T9" fmla="*/ 5 h 704"/>
                  <a:gd name="T10" fmla="*/ 19 w 1664"/>
                  <a:gd name="T11" fmla="*/ 0 h 704"/>
                  <a:gd name="T12" fmla="*/ 0 w 1664"/>
                  <a:gd name="T13" fmla="*/ 0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4"/>
                      <a:pt x="0" y="289"/>
                      <a:pt x="0" y="434"/>
                    </a:cubicBezTo>
                    <a:cubicBezTo>
                      <a:pt x="0" y="583"/>
                      <a:pt x="372" y="703"/>
                      <a:pt x="831" y="703"/>
                    </a:cubicBezTo>
                    <a:cubicBezTo>
                      <a:pt x="1290" y="703"/>
                      <a:pt x="1663" y="583"/>
                      <a:pt x="1663" y="434"/>
                    </a:cubicBezTo>
                    <a:cubicBezTo>
                      <a:pt x="1663" y="0"/>
                      <a:pt x="1663" y="144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3CABB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3" name="Freeform 170"/>
              <p:cNvSpPr>
                <a:spLocks noChangeArrowheads="1"/>
              </p:cNvSpPr>
              <p:nvPr/>
            </p:nvSpPr>
            <p:spPr bwMode="auto">
              <a:xfrm>
                <a:off x="352426" y="4060002"/>
                <a:ext cx="241300" cy="252413"/>
              </a:xfrm>
              <a:custGeom>
                <a:avLst/>
                <a:gdLst>
                  <a:gd name="T0" fmla="*/ 0 w 673"/>
                  <a:gd name="T1" fmla="*/ 7 h 704"/>
                  <a:gd name="T2" fmla="*/ 0 w 673"/>
                  <a:gd name="T3" fmla="*/ 7 h 704"/>
                  <a:gd name="T4" fmla="*/ 6 w 673"/>
                  <a:gd name="T5" fmla="*/ 8 h 704"/>
                  <a:gd name="T6" fmla="*/ 8 w 673"/>
                  <a:gd name="T7" fmla="*/ 8 h 704"/>
                  <a:gd name="T8" fmla="*/ 8 w 673"/>
                  <a:gd name="T9" fmla="*/ 0 h 704"/>
                  <a:gd name="T10" fmla="*/ 0 w 673"/>
                  <a:gd name="T11" fmla="*/ 0 h 704"/>
                  <a:gd name="T12" fmla="*/ 0 w 673"/>
                  <a:gd name="T13" fmla="*/ 7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3" h="704">
                    <a:moveTo>
                      <a:pt x="0" y="651"/>
                    </a:moveTo>
                    <a:lnTo>
                      <a:pt x="0" y="651"/>
                    </a:lnTo>
                    <a:cubicBezTo>
                      <a:pt x="137" y="684"/>
                      <a:pt x="307" y="703"/>
                      <a:pt x="490" y="703"/>
                    </a:cubicBezTo>
                    <a:cubicBezTo>
                      <a:pt x="552" y="703"/>
                      <a:pt x="614" y="701"/>
                      <a:pt x="672" y="696"/>
                    </a:cubicBezTo>
                    <a:cubicBezTo>
                      <a:pt x="672" y="0"/>
                      <a:pt x="672" y="232"/>
                      <a:pt x="672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1"/>
                    </a:cubicBezTo>
                  </a:path>
                </a:pathLst>
              </a:custGeom>
              <a:solidFill>
                <a:srgbClr val="35C9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4" name="Freeform 171"/>
              <p:cNvSpPr>
                <a:spLocks noChangeArrowheads="1"/>
              </p:cNvSpPr>
              <p:nvPr/>
            </p:nvSpPr>
            <p:spPr bwMode="auto">
              <a:xfrm>
                <a:off x="230189" y="3963165"/>
                <a:ext cx="596900" cy="192088"/>
              </a:xfrm>
              <a:custGeom>
                <a:avLst/>
                <a:gdLst>
                  <a:gd name="T0" fmla="*/ 19 w 1664"/>
                  <a:gd name="T1" fmla="*/ 3 h 539"/>
                  <a:gd name="T2" fmla="*/ 19 w 1664"/>
                  <a:gd name="T3" fmla="*/ 3 h 539"/>
                  <a:gd name="T4" fmla="*/ 9 w 1664"/>
                  <a:gd name="T5" fmla="*/ 6 h 539"/>
                  <a:gd name="T6" fmla="*/ 0 w 1664"/>
                  <a:gd name="T7" fmla="*/ 3 h 539"/>
                  <a:gd name="T8" fmla="*/ 9 w 1664"/>
                  <a:gd name="T9" fmla="*/ 0 h 539"/>
                  <a:gd name="T10" fmla="*/ 19 w 1664"/>
                  <a:gd name="T11" fmla="*/ 3 h 5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39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8"/>
                      <a:pt x="831" y="538"/>
                    </a:cubicBezTo>
                    <a:cubicBezTo>
                      <a:pt x="372" y="538"/>
                      <a:pt x="0" y="418"/>
                      <a:pt x="0" y="269"/>
                    </a:cubicBezTo>
                    <a:cubicBezTo>
                      <a:pt x="0" y="121"/>
                      <a:pt x="372" y="0"/>
                      <a:pt x="831" y="0"/>
                    </a:cubicBezTo>
                    <a:cubicBezTo>
                      <a:pt x="1290" y="0"/>
                      <a:pt x="1663" y="121"/>
                      <a:pt x="1663" y="269"/>
                    </a:cubicBezTo>
                  </a:path>
                </a:pathLst>
              </a:custGeom>
              <a:solidFill>
                <a:srgbClr val="21737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5" name="Freeform 172"/>
              <p:cNvSpPr>
                <a:spLocks noChangeArrowheads="1"/>
              </p:cNvSpPr>
              <p:nvPr/>
            </p:nvSpPr>
            <p:spPr bwMode="auto">
              <a:xfrm>
                <a:off x="1047751" y="4426715"/>
                <a:ext cx="596900" cy="250825"/>
              </a:xfrm>
              <a:custGeom>
                <a:avLst/>
                <a:gdLst>
                  <a:gd name="T0" fmla="*/ 0 w 1664"/>
                  <a:gd name="T1" fmla="*/ 0 h 703"/>
                  <a:gd name="T2" fmla="*/ 0 w 1664"/>
                  <a:gd name="T3" fmla="*/ 0 h 703"/>
                  <a:gd name="T4" fmla="*/ 0 w 1664"/>
                  <a:gd name="T5" fmla="*/ 5 h 703"/>
                  <a:gd name="T6" fmla="*/ 9 w 1664"/>
                  <a:gd name="T7" fmla="*/ 8 h 703"/>
                  <a:gd name="T8" fmla="*/ 19 w 1664"/>
                  <a:gd name="T9" fmla="*/ 5 h 703"/>
                  <a:gd name="T10" fmla="*/ 19 w 1664"/>
                  <a:gd name="T11" fmla="*/ 0 h 703"/>
                  <a:gd name="T12" fmla="*/ 0 w 1664"/>
                  <a:gd name="T13" fmla="*/ 0 h 70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4"/>
                      <a:pt x="0" y="289"/>
                      <a:pt x="0" y="434"/>
                    </a:cubicBezTo>
                    <a:cubicBezTo>
                      <a:pt x="0" y="582"/>
                      <a:pt x="372" y="702"/>
                      <a:pt x="831" y="702"/>
                    </a:cubicBezTo>
                    <a:cubicBezTo>
                      <a:pt x="1290" y="702"/>
                      <a:pt x="1663" y="582"/>
                      <a:pt x="1663" y="434"/>
                    </a:cubicBezTo>
                    <a:cubicBezTo>
                      <a:pt x="1663" y="0"/>
                      <a:pt x="1663" y="144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27AAE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6" name="Freeform 173"/>
              <p:cNvSpPr>
                <a:spLocks noChangeArrowheads="1"/>
              </p:cNvSpPr>
              <p:nvPr/>
            </p:nvSpPr>
            <p:spPr bwMode="auto">
              <a:xfrm>
                <a:off x="1171576" y="4426715"/>
                <a:ext cx="239713" cy="250825"/>
              </a:xfrm>
              <a:custGeom>
                <a:avLst/>
                <a:gdLst>
                  <a:gd name="T0" fmla="*/ 0 w 672"/>
                  <a:gd name="T1" fmla="*/ 7 h 703"/>
                  <a:gd name="T2" fmla="*/ 0 w 672"/>
                  <a:gd name="T3" fmla="*/ 7 h 703"/>
                  <a:gd name="T4" fmla="*/ 6 w 672"/>
                  <a:gd name="T5" fmla="*/ 8 h 703"/>
                  <a:gd name="T6" fmla="*/ 8 w 672"/>
                  <a:gd name="T7" fmla="*/ 8 h 703"/>
                  <a:gd name="T8" fmla="*/ 8 w 672"/>
                  <a:gd name="T9" fmla="*/ 0 h 703"/>
                  <a:gd name="T10" fmla="*/ 0 w 672"/>
                  <a:gd name="T11" fmla="*/ 0 h 703"/>
                  <a:gd name="T12" fmla="*/ 0 w 672"/>
                  <a:gd name="T13" fmla="*/ 7 h 70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2" h="703">
                    <a:moveTo>
                      <a:pt x="0" y="650"/>
                    </a:moveTo>
                    <a:lnTo>
                      <a:pt x="0" y="650"/>
                    </a:lnTo>
                    <a:cubicBezTo>
                      <a:pt x="137" y="683"/>
                      <a:pt x="307" y="702"/>
                      <a:pt x="490" y="702"/>
                    </a:cubicBezTo>
                    <a:cubicBezTo>
                      <a:pt x="552" y="702"/>
                      <a:pt x="613" y="700"/>
                      <a:pt x="671" y="696"/>
                    </a:cubicBezTo>
                    <a:cubicBezTo>
                      <a:pt x="671" y="0"/>
                      <a:pt x="671" y="232"/>
                      <a:pt x="671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0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7" name="Freeform 174"/>
              <p:cNvSpPr>
                <a:spLocks noChangeArrowheads="1"/>
              </p:cNvSpPr>
              <p:nvPr/>
            </p:nvSpPr>
            <p:spPr bwMode="auto">
              <a:xfrm>
                <a:off x="1047751" y="4329877"/>
                <a:ext cx="596900" cy="192088"/>
              </a:xfrm>
              <a:custGeom>
                <a:avLst/>
                <a:gdLst>
                  <a:gd name="T0" fmla="*/ 19 w 1664"/>
                  <a:gd name="T1" fmla="*/ 3 h 539"/>
                  <a:gd name="T2" fmla="*/ 19 w 1664"/>
                  <a:gd name="T3" fmla="*/ 3 h 539"/>
                  <a:gd name="T4" fmla="*/ 9 w 1664"/>
                  <a:gd name="T5" fmla="*/ 6 h 539"/>
                  <a:gd name="T6" fmla="*/ 0 w 1664"/>
                  <a:gd name="T7" fmla="*/ 3 h 539"/>
                  <a:gd name="T8" fmla="*/ 9 w 1664"/>
                  <a:gd name="T9" fmla="*/ 0 h 539"/>
                  <a:gd name="T10" fmla="*/ 19 w 1664"/>
                  <a:gd name="T11" fmla="*/ 3 h 5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39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8"/>
                      <a:pt x="831" y="538"/>
                    </a:cubicBezTo>
                    <a:cubicBezTo>
                      <a:pt x="372" y="538"/>
                      <a:pt x="0" y="418"/>
                      <a:pt x="0" y="269"/>
                    </a:cubicBezTo>
                    <a:cubicBezTo>
                      <a:pt x="0" y="121"/>
                      <a:pt x="372" y="0"/>
                      <a:pt x="831" y="0"/>
                    </a:cubicBezTo>
                    <a:cubicBezTo>
                      <a:pt x="1290" y="0"/>
                      <a:pt x="1663" y="121"/>
                      <a:pt x="1663" y="269"/>
                    </a:cubicBezTo>
                  </a:path>
                </a:pathLst>
              </a:custGeom>
              <a:solidFill>
                <a:srgbClr val="085D7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8" name="Freeform 175"/>
              <p:cNvSpPr>
                <a:spLocks noChangeArrowheads="1"/>
              </p:cNvSpPr>
              <p:nvPr/>
            </p:nvSpPr>
            <p:spPr bwMode="auto">
              <a:xfrm>
                <a:off x="1047751" y="4244152"/>
                <a:ext cx="596900" cy="252413"/>
              </a:xfrm>
              <a:custGeom>
                <a:avLst/>
                <a:gdLst>
                  <a:gd name="T0" fmla="*/ 0 w 1664"/>
                  <a:gd name="T1" fmla="*/ 0 h 704"/>
                  <a:gd name="T2" fmla="*/ 0 w 1664"/>
                  <a:gd name="T3" fmla="*/ 0 h 704"/>
                  <a:gd name="T4" fmla="*/ 0 w 1664"/>
                  <a:gd name="T5" fmla="*/ 5 h 704"/>
                  <a:gd name="T6" fmla="*/ 9 w 1664"/>
                  <a:gd name="T7" fmla="*/ 8 h 704"/>
                  <a:gd name="T8" fmla="*/ 19 w 1664"/>
                  <a:gd name="T9" fmla="*/ 5 h 704"/>
                  <a:gd name="T10" fmla="*/ 19 w 1664"/>
                  <a:gd name="T11" fmla="*/ 0 h 704"/>
                  <a:gd name="T12" fmla="*/ 0 w 1664"/>
                  <a:gd name="T13" fmla="*/ 0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3"/>
                      <a:pt x="0" y="288"/>
                      <a:pt x="0" y="433"/>
                    </a:cubicBezTo>
                    <a:cubicBezTo>
                      <a:pt x="0" y="582"/>
                      <a:pt x="372" y="703"/>
                      <a:pt x="831" y="703"/>
                    </a:cubicBezTo>
                    <a:cubicBezTo>
                      <a:pt x="1290" y="703"/>
                      <a:pt x="1663" y="582"/>
                      <a:pt x="1663" y="433"/>
                    </a:cubicBezTo>
                    <a:cubicBezTo>
                      <a:pt x="1663" y="0"/>
                      <a:pt x="1663" y="144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27AAE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19" name="Freeform 176"/>
              <p:cNvSpPr>
                <a:spLocks noChangeArrowheads="1"/>
              </p:cNvSpPr>
              <p:nvPr/>
            </p:nvSpPr>
            <p:spPr bwMode="auto">
              <a:xfrm>
                <a:off x="1171576" y="4244152"/>
                <a:ext cx="239713" cy="252413"/>
              </a:xfrm>
              <a:custGeom>
                <a:avLst/>
                <a:gdLst>
                  <a:gd name="T0" fmla="*/ 0 w 672"/>
                  <a:gd name="T1" fmla="*/ 7 h 704"/>
                  <a:gd name="T2" fmla="*/ 0 w 672"/>
                  <a:gd name="T3" fmla="*/ 7 h 704"/>
                  <a:gd name="T4" fmla="*/ 6 w 672"/>
                  <a:gd name="T5" fmla="*/ 8 h 704"/>
                  <a:gd name="T6" fmla="*/ 8 w 672"/>
                  <a:gd name="T7" fmla="*/ 8 h 704"/>
                  <a:gd name="T8" fmla="*/ 8 w 672"/>
                  <a:gd name="T9" fmla="*/ 0 h 704"/>
                  <a:gd name="T10" fmla="*/ 0 w 672"/>
                  <a:gd name="T11" fmla="*/ 0 h 704"/>
                  <a:gd name="T12" fmla="*/ 0 w 672"/>
                  <a:gd name="T13" fmla="*/ 7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2" h="704">
                    <a:moveTo>
                      <a:pt x="0" y="651"/>
                    </a:moveTo>
                    <a:lnTo>
                      <a:pt x="0" y="651"/>
                    </a:lnTo>
                    <a:cubicBezTo>
                      <a:pt x="137" y="683"/>
                      <a:pt x="307" y="703"/>
                      <a:pt x="490" y="703"/>
                    </a:cubicBezTo>
                    <a:cubicBezTo>
                      <a:pt x="552" y="703"/>
                      <a:pt x="613" y="700"/>
                      <a:pt x="671" y="696"/>
                    </a:cubicBezTo>
                    <a:cubicBezTo>
                      <a:pt x="671" y="0"/>
                      <a:pt x="671" y="232"/>
                      <a:pt x="671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1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0" name="Freeform 177"/>
              <p:cNvSpPr>
                <a:spLocks noChangeArrowheads="1"/>
              </p:cNvSpPr>
              <p:nvPr/>
            </p:nvSpPr>
            <p:spPr bwMode="auto">
              <a:xfrm>
                <a:off x="1047751" y="4147315"/>
                <a:ext cx="596900" cy="192088"/>
              </a:xfrm>
              <a:custGeom>
                <a:avLst/>
                <a:gdLst>
                  <a:gd name="T0" fmla="*/ 19 w 1664"/>
                  <a:gd name="T1" fmla="*/ 3 h 540"/>
                  <a:gd name="T2" fmla="*/ 19 w 1664"/>
                  <a:gd name="T3" fmla="*/ 3 h 540"/>
                  <a:gd name="T4" fmla="*/ 9 w 1664"/>
                  <a:gd name="T5" fmla="*/ 6 h 540"/>
                  <a:gd name="T6" fmla="*/ 0 w 1664"/>
                  <a:gd name="T7" fmla="*/ 3 h 540"/>
                  <a:gd name="T8" fmla="*/ 9 w 1664"/>
                  <a:gd name="T9" fmla="*/ 0 h 540"/>
                  <a:gd name="T10" fmla="*/ 19 w 1664"/>
                  <a:gd name="T11" fmla="*/ 3 h 5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40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9"/>
                      <a:pt x="831" y="539"/>
                    </a:cubicBezTo>
                    <a:cubicBezTo>
                      <a:pt x="372" y="539"/>
                      <a:pt x="0" y="418"/>
                      <a:pt x="0" y="269"/>
                    </a:cubicBezTo>
                    <a:cubicBezTo>
                      <a:pt x="0" y="120"/>
                      <a:pt x="372" y="0"/>
                      <a:pt x="831" y="0"/>
                    </a:cubicBezTo>
                    <a:cubicBezTo>
                      <a:pt x="1290" y="0"/>
                      <a:pt x="1663" y="120"/>
                      <a:pt x="1663" y="269"/>
                    </a:cubicBezTo>
                  </a:path>
                </a:pathLst>
              </a:custGeom>
              <a:solidFill>
                <a:srgbClr val="085D7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1" name="Freeform 178"/>
              <p:cNvSpPr>
                <a:spLocks noChangeArrowheads="1"/>
              </p:cNvSpPr>
              <p:nvPr/>
            </p:nvSpPr>
            <p:spPr bwMode="auto">
              <a:xfrm>
                <a:off x="1047751" y="4060002"/>
                <a:ext cx="596900" cy="252413"/>
              </a:xfrm>
              <a:custGeom>
                <a:avLst/>
                <a:gdLst>
                  <a:gd name="T0" fmla="*/ 0 w 1664"/>
                  <a:gd name="T1" fmla="*/ 0 h 704"/>
                  <a:gd name="T2" fmla="*/ 0 w 1664"/>
                  <a:gd name="T3" fmla="*/ 0 h 704"/>
                  <a:gd name="T4" fmla="*/ 0 w 1664"/>
                  <a:gd name="T5" fmla="*/ 5 h 704"/>
                  <a:gd name="T6" fmla="*/ 9 w 1664"/>
                  <a:gd name="T7" fmla="*/ 8 h 704"/>
                  <a:gd name="T8" fmla="*/ 19 w 1664"/>
                  <a:gd name="T9" fmla="*/ 5 h 704"/>
                  <a:gd name="T10" fmla="*/ 19 w 1664"/>
                  <a:gd name="T11" fmla="*/ 0 h 704"/>
                  <a:gd name="T12" fmla="*/ 0 w 1664"/>
                  <a:gd name="T13" fmla="*/ 0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4"/>
                      <a:pt x="0" y="289"/>
                      <a:pt x="0" y="434"/>
                    </a:cubicBezTo>
                    <a:cubicBezTo>
                      <a:pt x="0" y="583"/>
                      <a:pt x="372" y="703"/>
                      <a:pt x="831" y="703"/>
                    </a:cubicBezTo>
                    <a:cubicBezTo>
                      <a:pt x="1290" y="703"/>
                      <a:pt x="1663" y="583"/>
                      <a:pt x="1663" y="434"/>
                    </a:cubicBezTo>
                    <a:cubicBezTo>
                      <a:pt x="1663" y="0"/>
                      <a:pt x="1663" y="144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27AAE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2" name="Freeform 179"/>
              <p:cNvSpPr>
                <a:spLocks noChangeArrowheads="1"/>
              </p:cNvSpPr>
              <p:nvPr/>
            </p:nvSpPr>
            <p:spPr bwMode="auto">
              <a:xfrm>
                <a:off x="1171576" y="4060002"/>
                <a:ext cx="239713" cy="252413"/>
              </a:xfrm>
              <a:custGeom>
                <a:avLst/>
                <a:gdLst>
                  <a:gd name="T0" fmla="*/ 0 w 672"/>
                  <a:gd name="T1" fmla="*/ 7 h 704"/>
                  <a:gd name="T2" fmla="*/ 0 w 672"/>
                  <a:gd name="T3" fmla="*/ 7 h 704"/>
                  <a:gd name="T4" fmla="*/ 6 w 672"/>
                  <a:gd name="T5" fmla="*/ 8 h 704"/>
                  <a:gd name="T6" fmla="*/ 8 w 672"/>
                  <a:gd name="T7" fmla="*/ 8 h 704"/>
                  <a:gd name="T8" fmla="*/ 8 w 672"/>
                  <a:gd name="T9" fmla="*/ 0 h 704"/>
                  <a:gd name="T10" fmla="*/ 0 w 672"/>
                  <a:gd name="T11" fmla="*/ 0 h 704"/>
                  <a:gd name="T12" fmla="*/ 0 w 672"/>
                  <a:gd name="T13" fmla="*/ 7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2" h="704">
                    <a:moveTo>
                      <a:pt x="0" y="651"/>
                    </a:moveTo>
                    <a:lnTo>
                      <a:pt x="0" y="651"/>
                    </a:lnTo>
                    <a:cubicBezTo>
                      <a:pt x="137" y="684"/>
                      <a:pt x="307" y="703"/>
                      <a:pt x="490" y="703"/>
                    </a:cubicBezTo>
                    <a:cubicBezTo>
                      <a:pt x="552" y="703"/>
                      <a:pt x="613" y="701"/>
                      <a:pt x="671" y="696"/>
                    </a:cubicBezTo>
                    <a:cubicBezTo>
                      <a:pt x="671" y="0"/>
                      <a:pt x="671" y="232"/>
                      <a:pt x="671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1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3" name="Freeform 180"/>
              <p:cNvSpPr>
                <a:spLocks noChangeArrowheads="1"/>
              </p:cNvSpPr>
              <p:nvPr/>
            </p:nvSpPr>
            <p:spPr bwMode="auto">
              <a:xfrm>
                <a:off x="1047751" y="3963165"/>
                <a:ext cx="596900" cy="192088"/>
              </a:xfrm>
              <a:custGeom>
                <a:avLst/>
                <a:gdLst>
                  <a:gd name="T0" fmla="*/ 19 w 1664"/>
                  <a:gd name="T1" fmla="*/ 3 h 539"/>
                  <a:gd name="T2" fmla="*/ 19 w 1664"/>
                  <a:gd name="T3" fmla="*/ 3 h 539"/>
                  <a:gd name="T4" fmla="*/ 9 w 1664"/>
                  <a:gd name="T5" fmla="*/ 6 h 539"/>
                  <a:gd name="T6" fmla="*/ 0 w 1664"/>
                  <a:gd name="T7" fmla="*/ 3 h 539"/>
                  <a:gd name="T8" fmla="*/ 9 w 1664"/>
                  <a:gd name="T9" fmla="*/ 0 h 539"/>
                  <a:gd name="T10" fmla="*/ 19 w 1664"/>
                  <a:gd name="T11" fmla="*/ 3 h 5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39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8"/>
                      <a:pt x="831" y="538"/>
                    </a:cubicBezTo>
                    <a:cubicBezTo>
                      <a:pt x="372" y="538"/>
                      <a:pt x="0" y="418"/>
                      <a:pt x="0" y="269"/>
                    </a:cubicBezTo>
                    <a:cubicBezTo>
                      <a:pt x="0" y="121"/>
                      <a:pt x="372" y="0"/>
                      <a:pt x="831" y="0"/>
                    </a:cubicBezTo>
                    <a:cubicBezTo>
                      <a:pt x="1290" y="0"/>
                      <a:pt x="1663" y="121"/>
                      <a:pt x="1663" y="269"/>
                    </a:cubicBezTo>
                  </a:path>
                </a:pathLst>
              </a:custGeom>
              <a:solidFill>
                <a:srgbClr val="085D7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4" name="Freeform 181"/>
              <p:cNvSpPr>
                <a:spLocks noChangeArrowheads="1"/>
              </p:cNvSpPr>
              <p:nvPr/>
            </p:nvSpPr>
            <p:spPr bwMode="auto">
              <a:xfrm>
                <a:off x="230189" y="5264915"/>
                <a:ext cx="596900" cy="252413"/>
              </a:xfrm>
              <a:custGeom>
                <a:avLst/>
                <a:gdLst>
                  <a:gd name="T0" fmla="*/ 0 w 1664"/>
                  <a:gd name="T1" fmla="*/ 0 h 704"/>
                  <a:gd name="T2" fmla="*/ 0 w 1664"/>
                  <a:gd name="T3" fmla="*/ 0 h 704"/>
                  <a:gd name="T4" fmla="*/ 0 w 1664"/>
                  <a:gd name="T5" fmla="*/ 5 h 704"/>
                  <a:gd name="T6" fmla="*/ 9 w 1664"/>
                  <a:gd name="T7" fmla="*/ 8 h 704"/>
                  <a:gd name="T8" fmla="*/ 19 w 1664"/>
                  <a:gd name="T9" fmla="*/ 5 h 704"/>
                  <a:gd name="T10" fmla="*/ 19 w 1664"/>
                  <a:gd name="T11" fmla="*/ 0 h 704"/>
                  <a:gd name="T12" fmla="*/ 0 w 1664"/>
                  <a:gd name="T13" fmla="*/ 0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4"/>
                      <a:pt x="0" y="290"/>
                      <a:pt x="0" y="434"/>
                    </a:cubicBezTo>
                    <a:cubicBezTo>
                      <a:pt x="0" y="582"/>
                      <a:pt x="372" y="703"/>
                      <a:pt x="831" y="703"/>
                    </a:cubicBezTo>
                    <a:cubicBezTo>
                      <a:pt x="1290" y="703"/>
                      <a:pt x="1663" y="582"/>
                      <a:pt x="1663" y="434"/>
                    </a:cubicBezTo>
                    <a:cubicBezTo>
                      <a:pt x="1663" y="0"/>
                      <a:pt x="1663" y="145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D8831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5" name="Freeform 182"/>
              <p:cNvSpPr>
                <a:spLocks noChangeArrowheads="1"/>
              </p:cNvSpPr>
              <p:nvPr/>
            </p:nvSpPr>
            <p:spPr bwMode="auto">
              <a:xfrm>
                <a:off x="352426" y="5264915"/>
                <a:ext cx="241300" cy="252413"/>
              </a:xfrm>
              <a:custGeom>
                <a:avLst/>
                <a:gdLst>
                  <a:gd name="T0" fmla="*/ 0 w 673"/>
                  <a:gd name="T1" fmla="*/ 7 h 704"/>
                  <a:gd name="T2" fmla="*/ 0 w 673"/>
                  <a:gd name="T3" fmla="*/ 7 h 704"/>
                  <a:gd name="T4" fmla="*/ 6 w 673"/>
                  <a:gd name="T5" fmla="*/ 8 h 704"/>
                  <a:gd name="T6" fmla="*/ 8 w 673"/>
                  <a:gd name="T7" fmla="*/ 8 h 704"/>
                  <a:gd name="T8" fmla="*/ 8 w 673"/>
                  <a:gd name="T9" fmla="*/ 0 h 704"/>
                  <a:gd name="T10" fmla="*/ 0 w 673"/>
                  <a:gd name="T11" fmla="*/ 0 h 704"/>
                  <a:gd name="T12" fmla="*/ 0 w 673"/>
                  <a:gd name="T13" fmla="*/ 7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3" h="704">
                    <a:moveTo>
                      <a:pt x="0" y="651"/>
                    </a:moveTo>
                    <a:lnTo>
                      <a:pt x="0" y="651"/>
                    </a:lnTo>
                    <a:cubicBezTo>
                      <a:pt x="137" y="684"/>
                      <a:pt x="307" y="703"/>
                      <a:pt x="490" y="703"/>
                    </a:cubicBezTo>
                    <a:cubicBezTo>
                      <a:pt x="552" y="703"/>
                      <a:pt x="614" y="701"/>
                      <a:pt x="672" y="697"/>
                    </a:cubicBezTo>
                    <a:cubicBezTo>
                      <a:pt x="672" y="0"/>
                      <a:pt x="672" y="233"/>
                      <a:pt x="672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1"/>
                    </a:cubicBezTo>
                  </a:path>
                </a:pathLst>
              </a:custGeom>
              <a:solidFill>
                <a:srgbClr val="F7941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6" name="Freeform 183"/>
              <p:cNvSpPr>
                <a:spLocks noChangeArrowheads="1"/>
              </p:cNvSpPr>
              <p:nvPr/>
            </p:nvSpPr>
            <p:spPr bwMode="auto">
              <a:xfrm>
                <a:off x="230189" y="5168077"/>
                <a:ext cx="596900" cy="192088"/>
              </a:xfrm>
              <a:custGeom>
                <a:avLst/>
                <a:gdLst>
                  <a:gd name="T0" fmla="*/ 19 w 1664"/>
                  <a:gd name="T1" fmla="*/ 3 h 539"/>
                  <a:gd name="T2" fmla="*/ 19 w 1664"/>
                  <a:gd name="T3" fmla="*/ 3 h 539"/>
                  <a:gd name="T4" fmla="*/ 9 w 1664"/>
                  <a:gd name="T5" fmla="*/ 6 h 539"/>
                  <a:gd name="T6" fmla="*/ 0 w 1664"/>
                  <a:gd name="T7" fmla="*/ 3 h 539"/>
                  <a:gd name="T8" fmla="*/ 9 w 1664"/>
                  <a:gd name="T9" fmla="*/ 0 h 539"/>
                  <a:gd name="T10" fmla="*/ 19 w 1664"/>
                  <a:gd name="T11" fmla="*/ 3 h 5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39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8"/>
                      <a:pt x="831" y="538"/>
                    </a:cubicBezTo>
                    <a:cubicBezTo>
                      <a:pt x="372" y="538"/>
                      <a:pt x="0" y="418"/>
                      <a:pt x="0" y="269"/>
                    </a:cubicBezTo>
                    <a:cubicBezTo>
                      <a:pt x="0" y="121"/>
                      <a:pt x="372" y="0"/>
                      <a:pt x="831" y="0"/>
                    </a:cubicBezTo>
                    <a:cubicBezTo>
                      <a:pt x="1290" y="0"/>
                      <a:pt x="1663" y="121"/>
                      <a:pt x="1663" y="269"/>
                    </a:cubicBezTo>
                  </a:path>
                </a:pathLst>
              </a:custGeom>
              <a:solidFill>
                <a:srgbClr val="7A490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7" name="Freeform 184"/>
              <p:cNvSpPr>
                <a:spLocks noChangeArrowheads="1"/>
              </p:cNvSpPr>
              <p:nvPr/>
            </p:nvSpPr>
            <p:spPr bwMode="auto">
              <a:xfrm>
                <a:off x="230189" y="5080765"/>
                <a:ext cx="596900" cy="252413"/>
              </a:xfrm>
              <a:custGeom>
                <a:avLst/>
                <a:gdLst>
                  <a:gd name="T0" fmla="*/ 0 w 1664"/>
                  <a:gd name="T1" fmla="*/ 0 h 704"/>
                  <a:gd name="T2" fmla="*/ 0 w 1664"/>
                  <a:gd name="T3" fmla="*/ 0 h 704"/>
                  <a:gd name="T4" fmla="*/ 0 w 1664"/>
                  <a:gd name="T5" fmla="*/ 5 h 704"/>
                  <a:gd name="T6" fmla="*/ 9 w 1664"/>
                  <a:gd name="T7" fmla="*/ 8 h 704"/>
                  <a:gd name="T8" fmla="*/ 19 w 1664"/>
                  <a:gd name="T9" fmla="*/ 5 h 704"/>
                  <a:gd name="T10" fmla="*/ 19 w 1664"/>
                  <a:gd name="T11" fmla="*/ 0 h 704"/>
                  <a:gd name="T12" fmla="*/ 0 w 1664"/>
                  <a:gd name="T13" fmla="*/ 0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4"/>
                      <a:pt x="0" y="290"/>
                      <a:pt x="0" y="434"/>
                    </a:cubicBezTo>
                    <a:cubicBezTo>
                      <a:pt x="0" y="582"/>
                      <a:pt x="372" y="703"/>
                      <a:pt x="831" y="703"/>
                    </a:cubicBezTo>
                    <a:cubicBezTo>
                      <a:pt x="1290" y="703"/>
                      <a:pt x="1663" y="582"/>
                      <a:pt x="1663" y="434"/>
                    </a:cubicBezTo>
                    <a:cubicBezTo>
                      <a:pt x="1663" y="0"/>
                      <a:pt x="1663" y="145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D8831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8" name="Freeform 185"/>
              <p:cNvSpPr>
                <a:spLocks noChangeArrowheads="1"/>
              </p:cNvSpPr>
              <p:nvPr/>
            </p:nvSpPr>
            <p:spPr bwMode="auto">
              <a:xfrm>
                <a:off x="352426" y="5080765"/>
                <a:ext cx="241300" cy="252413"/>
              </a:xfrm>
              <a:custGeom>
                <a:avLst/>
                <a:gdLst>
                  <a:gd name="T0" fmla="*/ 0 w 673"/>
                  <a:gd name="T1" fmla="*/ 7 h 704"/>
                  <a:gd name="T2" fmla="*/ 0 w 673"/>
                  <a:gd name="T3" fmla="*/ 7 h 704"/>
                  <a:gd name="T4" fmla="*/ 6 w 673"/>
                  <a:gd name="T5" fmla="*/ 8 h 704"/>
                  <a:gd name="T6" fmla="*/ 8 w 673"/>
                  <a:gd name="T7" fmla="*/ 8 h 704"/>
                  <a:gd name="T8" fmla="*/ 8 w 673"/>
                  <a:gd name="T9" fmla="*/ 0 h 704"/>
                  <a:gd name="T10" fmla="*/ 0 w 673"/>
                  <a:gd name="T11" fmla="*/ 0 h 704"/>
                  <a:gd name="T12" fmla="*/ 0 w 673"/>
                  <a:gd name="T13" fmla="*/ 7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3" h="704">
                    <a:moveTo>
                      <a:pt x="0" y="651"/>
                    </a:moveTo>
                    <a:lnTo>
                      <a:pt x="0" y="651"/>
                    </a:lnTo>
                    <a:cubicBezTo>
                      <a:pt x="137" y="684"/>
                      <a:pt x="307" y="703"/>
                      <a:pt x="490" y="703"/>
                    </a:cubicBezTo>
                    <a:cubicBezTo>
                      <a:pt x="552" y="703"/>
                      <a:pt x="614" y="701"/>
                      <a:pt x="672" y="696"/>
                    </a:cubicBezTo>
                    <a:cubicBezTo>
                      <a:pt x="672" y="0"/>
                      <a:pt x="672" y="232"/>
                      <a:pt x="672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1"/>
                    </a:cubicBezTo>
                  </a:path>
                </a:pathLst>
              </a:custGeom>
              <a:solidFill>
                <a:srgbClr val="F7941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9" name="Freeform 186"/>
              <p:cNvSpPr>
                <a:spLocks noChangeArrowheads="1"/>
              </p:cNvSpPr>
              <p:nvPr/>
            </p:nvSpPr>
            <p:spPr bwMode="auto">
              <a:xfrm>
                <a:off x="230189" y="4983927"/>
                <a:ext cx="596900" cy="192088"/>
              </a:xfrm>
              <a:custGeom>
                <a:avLst/>
                <a:gdLst>
                  <a:gd name="T0" fmla="*/ 19 w 1664"/>
                  <a:gd name="T1" fmla="*/ 3 h 540"/>
                  <a:gd name="T2" fmla="*/ 19 w 1664"/>
                  <a:gd name="T3" fmla="*/ 3 h 540"/>
                  <a:gd name="T4" fmla="*/ 9 w 1664"/>
                  <a:gd name="T5" fmla="*/ 6 h 540"/>
                  <a:gd name="T6" fmla="*/ 0 w 1664"/>
                  <a:gd name="T7" fmla="*/ 3 h 540"/>
                  <a:gd name="T8" fmla="*/ 9 w 1664"/>
                  <a:gd name="T9" fmla="*/ 0 h 540"/>
                  <a:gd name="T10" fmla="*/ 19 w 1664"/>
                  <a:gd name="T11" fmla="*/ 3 h 5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40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9"/>
                      <a:pt x="831" y="539"/>
                    </a:cubicBezTo>
                    <a:cubicBezTo>
                      <a:pt x="372" y="539"/>
                      <a:pt x="0" y="418"/>
                      <a:pt x="0" y="269"/>
                    </a:cubicBezTo>
                    <a:cubicBezTo>
                      <a:pt x="0" y="120"/>
                      <a:pt x="372" y="0"/>
                      <a:pt x="831" y="0"/>
                    </a:cubicBezTo>
                    <a:cubicBezTo>
                      <a:pt x="1290" y="0"/>
                      <a:pt x="1663" y="120"/>
                      <a:pt x="1663" y="269"/>
                    </a:cubicBezTo>
                  </a:path>
                </a:pathLst>
              </a:custGeom>
              <a:solidFill>
                <a:srgbClr val="7A490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0" name="Freeform 187"/>
              <p:cNvSpPr>
                <a:spLocks noChangeArrowheads="1"/>
              </p:cNvSpPr>
              <p:nvPr/>
            </p:nvSpPr>
            <p:spPr bwMode="auto">
              <a:xfrm>
                <a:off x="230189" y="4898202"/>
                <a:ext cx="596900" cy="250825"/>
              </a:xfrm>
              <a:custGeom>
                <a:avLst/>
                <a:gdLst>
                  <a:gd name="T0" fmla="*/ 0 w 1664"/>
                  <a:gd name="T1" fmla="*/ 0 h 703"/>
                  <a:gd name="T2" fmla="*/ 0 w 1664"/>
                  <a:gd name="T3" fmla="*/ 0 h 703"/>
                  <a:gd name="T4" fmla="*/ 0 w 1664"/>
                  <a:gd name="T5" fmla="*/ 5 h 703"/>
                  <a:gd name="T6" fmla="*/ 9 w 1664"/>
                  <a:gd name="T7" fmla="*/ 8 h 703"/>
                  <a:gd name="T8" fmla="*/ 19 w 1664"/>
                  <a:gd name="T9" fmla="*/ 5 h 703"/>
                  <a:gd name="T10" fmla="*/ 19 w 1664"/>
                  <a:gd name="T11" fmla="*/ 0 h 703"/>
                  <a:gd name="T12" fmla="*/ 0 w 1664"/>
                  <a:gd name="T13" fmla="*/ 0 h 70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3"/>
                      <a:pt x="0" y="289"/>
                      <a:pt x="0" y="433"/>
                    </a:cubicBezTo>
                    <a:cubicBezTo>
                      <a:pt x="0" y="582"/>
                      <a:pt x="372" y="702"/>
                      <a:pt x="831" y="702"/>
                    </a:cubicBezTo>
                    <a:cubicBezTo>
                      <a:pt x="1290" y="702"/>
                      <a:pt x="1663" y="582"/>
                      <a:pt x="1663" y="433"/>
                    </a:cubicBezTo>
                    <a:cubicBezTo>
                      <a:pt x="1663" y="0"/>
                      <a:pt x="1663" y="145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D8831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1" name="Freeform 188"/>
              <p:cNvSpPr>
                <a:spLocks noChangeArrowheads="1"/>
              </p:cNvSpPr>
              <p:nvPr/>
            </p:nvSpPr>
            <p:spPr bwMode="auto">
              <a:xfrm>
                <a:off x="352426" y="4898202"/>
                <a:ext cx="241300" cy="250825"/>
              </a:xfrm>
              <a:custGeom>
                <a:avLst/>
                <a:gdLst>
                  <a:gd name="T0" fmla="*/ 0 w 673"/>
                  <a:gd name="T1" fmla="*/ 7 h 703"/>
                  <a:gd name="T2" fmla="*/ 0 w 673"/>
                  <a:gd name="T3" fmla="*/ 7 h 703"/>
                  <a:gd name="T4" fmla="*/ 6 w 673"/>
                  <a:gd name="T5" fmla="*/ 8 h 703"/>
                  <a:gd name="T6" fmla="*/ 8 w 673"/>
                  <a:gd name="T7" fmla="*/ 8 h 703"/>
                  <a:gd name="T8" fmla="*/ 8 w 673"/>
                  <a:gd name="T9" fmla="*/ 0 h 703"/>
                  <a:gd name="T10" fmla="*/ 0 w 673"/>
                  <a:gd name="T11" fmla="*/ 0 h 703"/>
                  <a:gd name="T12" fmla="*/ 0 w 673"/>
                  <a:gd name="T13" fmla="*/ 7 h 70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3" h="703">
                    <a:moveTo>
                      <a:pt x="0" y="650"/>
                    </a:moveTo>
                    <a:lnTo>
                      <a:pt x="0" y="650"/>
                    </a:lnTo>
                    <a:cubicBezTo>
                      <a:pt x="137" y="683"/>
                      <a:pt x="307" y="702"/>
                      <a:pt x="490" y="702"/>
                    </a:cubicBezTo>
                    <a:cubicBezTo>
                      <a:pt x="552" y="702"/>
                      <a:pt x="614" y="700"/>
                      <a:pt x="672" y="696"/>
                    </a:cubicBezTo>
                    <a:cubicBezTo>
                      <a:pt x="672" y="0"/>
                      <a:pt x="672" y="232"/>
                      <a:pt x="672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0"/>
                    </a:cubicBezTo>
                  </a:path>
                </a:pathLst>
              </a:custGeom>
              <a:solidFill>
                <a:srgbClr val="F7941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2" name="Freeform 189"/>
              <p:cNvSpPr>
                <a:spLocks noChangeArrowheads="1"/>
              </p:cNvSpPr>
              <p:nvPr/>
            </p:nvSpPr>
            <p:spPr bwMode="auto">
              <a:xfrm>
                <a:off x="230189" y="4801365"/>
                <a:ext cx="596900" cy="192088"/>
              </a:xfrm>
              <a:custGeom>
                <a:avLst/>
                <a:gdLst>
                  <a:gd name="T0" fmla="*/ 19 w 1664"/>
                  <a:gd name="T1" fmla="*/ 3 h 540"/>
                  <a:gd name="T2" fmla="*/ 19 w 1664"/>
                  <a:gd name="T3" fmla="*/ 3 h 540"/>
                  <a:gd name="T4" fmla="*/ 9 w 1664"/>
                  <a:gd name="T5" fmla="*/ 6 h 540"/>
                  <a:gd name="T6" fmla="*/ 0 w 1664"/>
                  <a:gd name="T7" fmla="*/ 3 h 540"/>
                  <a:gd name="T8" fmla="*/ 9 w 1664"/>
                  <a:gd name="T9" fmla="*/ 0 h 540"/>
                  <a:gd name="T10" fmla="*/ 19 w 1664"/>
                  <a:gd name="T11" fmla="*/ 3 h 5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40">
                    <a:moveTo>
                      <a:pt x="1663" y="270"/>
                    </a:moveTo>
                    <a:lnTo>
                      <a:pt x="1663" y="270"/>
                    </a:lnTo>
                    <a:cubicBezTo>
                      <a:pt x="1663" y="418"/>
                      <a:pt x="1290" y="539"/>
                      <a:pt x="831" y="539"/>
                    </a:cubicBezTo>
                    <a:cubicBezTo>
                      <a:pt x="372" y="539"/>
                      <a:pt x="0" y="418"/>
                      <a:pt x="0" y="270"/>
                    </a:cubicBezTo>
                    <a:cubicBezTo>
                      <a:pt x="0" y="121"/>
                      <a:pt x="372" y="0"/>
                      <a:pt x="831" y="0"/>
                    </a:cubicBezTo>
                    <a:cubicBezTo>
                      <a:pt x="1290" y="0"/>
                      <a:pt x="1663" y="121"/>
                      <a:pt x="1663" y="270"/>
                    </a:cubicBezTo>
                  </a:path>
                </a:pathLst>
              </a:custGeom>
              <a:solidFill>
                <a:srgbClr val="7A490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3" name="Freeform 190"/>
              <p:cNvSpPr>
                <a:spLocks noChangeArrowheads="1"/>
              </p:cNvSpPr>
              <p:nvPr/>
            </p:nvSpPr>
            <p:spPr bwMode="auto">
              <a:xfrm>
                <a:off x="1047751" y="5264915"/>
                <a:ext cx="596900" cy="252413"/>
              </a:xfrm>
              <a:custGeom>
                <a:avLst/>
                <a:gdLst>
                  <a:gd name="T0" fmla="*/ 0 w 1664"/>
                  <a:gd name="T1" fmla="*/ 0 h 704"/>
                  <a:gd name="T2" fmla="*/ 0 w 1664"/>
                  <a:gd name="T3" fmla="*/ 0 h 704"/>
                  <a:gd name="T4" fmla="*/ 0 w 1664"/>
                  <a:gd name="T5" fmla="*/ 5 h 704"/>
                  <a:gd name="T6" fmla="*/ 9 w 1664"/>
                  <a:gd name="T7" fmla="*/ 8 h 704"/>
                  <a:gd name="T8" fmla="*/ 19 w 1664"/>
                  <a:gd name="T9" fmla="*/ 5 h 704"/>
                  <a:gd name="T10" fmla="*/ 19 w 1664"/>
                  <a:gd name="T11" fmla="*/ 0 h 704"/>
                  <a:gd name="T12" fmla="*/ 0 w 1664"/>
                  <a:gd name="T13" fmla="*/ 0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4"/>
                      <a:pt x="0" y="290"/>
                      <a:pt x="0" y="434"/>
                    </a:cubicBezTo>
                    <a:cubicBezTo>
                      <a:pt x="0" y="582"/>
                      <a:pt x="372" y="703"/>
                      <a:pt x="831" y="703"/>
                    </a:cubicBezTo>
                    <a:cubicBezTo>
                      <a:pt x="1290" y="703"/>
                      <a:pt x="1663" y="582"/>
                      <a:pt x="1663" y="434"/>
                    </a:cubicBezTo>
                    <a:cubicBezTo>
                      <a:pt x="1663" y="0"/>
                      <a:pt x="1663" y="145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76A83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4" name="Freeform 191"/>
              <p:cNvSpPr>
                <a:spLocks noChangeArrowheads="1"/>
              </p:cNvSpPr>
              <p:nvPr/>
            </p:nvSpPr>
            <p:spPr bwMode="auto">
              <a:xfrm>
                <a:off x="1171576" y="5264915"/>
                <a:ext cx="239713" cy="252413"/>
              </a:xfrm>
              <a:custGeom>
                <a:avLst/>
                <a:gdLst>
                  <a:gd name="T0" fmla="*/ 0 w 672"/>
                  <a:gd name="T1" fmla="*/ 7 h 704"/>
                  <a:gd name="T2" fmla="*/ 0 w 672"/>
                  <a:gd name="T3" fmla="*/ 7 h 704"/>
                  <a:gd name="T4" fmla="*/ 6 w 672"/>
                  <a:gd name="T5" fmla="*/ 8 h 704"/>
                  <a:gd name="T6" fmla="*/ 8 w 672"/>
                  <a:gd name="T7" fmla="*/ 8 h 704"/>
                  <a:gd name="T8" fmla="*/ 8 w 672"/>
                  <a:gd name="T9" fmla="*/ 0 h 704"/>
                  <a:gd name="T10" fmla="*/ 0 w 672"/>
                  <a:gd name="T11" fmla="*/ 0 h 704"/>
                  <a:gd name="T12" fmla="*/ 0 w 672"/>
                  <a:gd name="T13" fmla="*/ 7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2" h="704">
                    <a:moveTo>
                      <a:pt x="0" y="651"/>
                    </a:moveTo>
                    <a:lnTo>
                      <a:pt x="0" y="651"/>
                    </a:lnTo>
                    <a:cubicBezTo>
                      <a:pt x="137" y="684"/>
                      <a:pt x="307" y="703"/>
                      <a:pt x="490" y="703"/>
                    </a:cubicBezTo>
                    <a:cubicBezTo>
                      <a:pt x="552" y="703"/>
                      <a:pt x="613" y="701"/>
                      <a:pt x="671" y="697"/>
                    </a:cubicBezTo>
                    <a:cubicBezTo>
                      <a:pt x="671" y="0"/>
                      <a:pt x="671" y="233"/>
                      <a:pt x="671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1"/>
                    </a:cubicBezTo>
                  </a:path>
                </a:pathLst>
              </a:custGeom>
              <a:solidFill>
                <a:srgbClr val="8DC63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5" name="Freeform 192"/>
              <p:cNvSpPr>
                <a:spLocks noChangeArrowheads="1"/>
              </p:cNvSpPr>
              <p:nvPr/>
            </p:nvSpPr>
            <p:spPr bwMode="auto">
              <a:xfrm>
                <a:off x="1047751" y="5168077"/>
                <a:ext cx="596900" cy="192088"/>
              </a:xfrm>
              <a:custGeom>
                <a:avLst/>
                <a:gdLst>
                  <a:gd name="T0" fmla="*/ 19 w 1664"/>
                  <a:gd name="T1" fmla="*/ 3 h 539"/>
                  <a:gd name="T2" fmla="*/ 19 w 1664"/>
                  <a:gd name="T3" fmla="*/ 3 h 539"/>
                  <a:gd name="T4" fmla="*/ 9 w 1664"/>
                  <a:gd name="T5" fmla="*/ 6 h 539"/>
                  <a:gd name="T6" fmla="*/ 0 w 1664"/>
                  <a:gd name="T7" fmla="*/ 3 h 539"/>
                  <a:gd name="T8" fmla="*/ 9 w 1664"/>
                  <a:gd name="T9" fmla="*/ 0 h 539"/>
                  <a:gd name="T10" fmla="*/ 19 w 1664"/>
                  <a:gd name="T11" fmla="*/ 3 h 5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39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8"/>
                      <a:pt x="831" y="538"/>
                    </a:cubicBezTo>
                    <a:cubicBezTo>
                      <a:pt x="372" y="538"/>
                      <a:pt x="0" y="418"/>
                      <a:pt x="0" y="269"/>
                    </a:cubicBezTo>
                    <a:cubicBezTo>
                      <a:pt x="0" y="121"/>
                      <a:pt x="372" y="0"/>
                      <a:pt x="831" y="0"/>
                    </a:cubicBezTo>
                    <a:cubicBezTo>
                      <a:pt x="1290" y="0"/>
                      <a:pt x="1663" y="121"/>
                      <a:pt x="1663" y="269"/>
                    </a:cubicBezTo>
                  </a:path>
                </a:pathLst>
              </a:custGeom>
              <a:solidFill>
                <a:srgbClr val="40672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6" name="Freeform 193"/>
              <p:cNvSpPr>
                <a:spLocks noChangeArrowheads="1"/>
              </p:cNvSpPr>
              <p:nvPr/>
            </p:nvSpPr>
            <p:spPr bwMode="auto">
              <a:xfrm>
                <a:off x="1047751" y="5080765"/>
                <a:ext cx="596900" cy="252413"/>
              </a:xfrm>
              <a:custGeom>
                <a:avLst/>
                <a:gdLst>
                  <a:gd name="T0" fmla="*/ 0 w 1664"/>
                  <a:gd name="T1" fmla="*/ 0 h 704"/>
                  <a:gd name="T2" fmla="*/ 0 w 1664"/>
                  <a:gd name="T3" fmla="*/ 0 h 704"/>
                  <a:gd name="T4" fmla="*/ 0 w 1664"/>
                  <a:gd name="T5" fmla="*/ 5 h 704"/>
                  <a:gd name="T6" fmla="*/ 9 w 1664"/>
                  <a:gd name="T7" fmla="*/ 8 h 704"/>
                  <a:gd name="T8" fmla="*/ 19 w 1664"/>
                  <a:gd name="T9" fmla="*/ 5 h 704"/>
                  <a:gd name="T10" fmla="*/ 19 w 1664"/>
                  <a:gd name="T11" fmla="*/ 0 h 704"/>
                  <a:gd name="T12" fmla="*/ 0 w 1664"/>
                  <a:gd name="T13" fmla="*/ 0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4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4"/>
                      <a:pt x="0" y="290"/>
                      <a:pt x="0" y="434"/>
                    </a:cubicBezTo>
                    <a:cubicBezTo>
                      <a:pt x="0" y="582"/>
                      <a:pt x="372" y="703"/>
                      <a:pt x="831" y="703"/>
                    </a:cubicBezTo>
                    <a:cubicBezTo>
                      <a:pt x="1290" y="703"/>
                      <a:pt x="1663" y="582"/>
                      <a:pt x="1663" y="434"/>
                    </a:cubicBezTo>
                    <a:cubicBezTo>
                      <a:pt x="1663" y="0"/>
                      <a:pt x="1663" y="145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76A83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7" name="Freeform 194"/>
              <p:cNvSpPr>
                <a:spLocks noChangeArrowheads="1"/>
              </p:cNvSpPr>
              <p:nvPr/>
            </p:nvSpPr>
            <p:spPr bwMode="auto">
              <a:xfrm>
                <a:off x="1171576" y="5080765"/>
                <a:ext cx="239713" cy="252413"/>
              </a:xfrm>
              <a:custGeom>
                <a:avLst/>
                <a:gdLst>
                  <a:gd name="T0" fmla="*/ 0 w 672"/>
                  <a:gd name="T1" fmla="*/ 7 h 704"/>
                  <a:gd name="T2" fmla="*/ 0 w 672"/>
                  <a:gd name="T3" fmla="*/ 7 h 704"/>
                  <a:gd name="T4" fmla="*/ 6 w 672"/>
                  <a:gd name="T5" fmla="*/ 8 h 704"/>
                  <a:gd name="T6" fmla="*/ 8 w 672"/>
                  <a:gd name="T7" fmla="*/ 8 h 704"/>
                  <a:gd name="T8" fmla="*/ 8 w 672"/>
                  <a:gd name="T9" fmla="*/ 0 h 704"/>
                  <a:gd name="T10" fmla="*/ 0 w 672"/>
                  <a:gd name="T11" fmla="*/ 0 h 704"/>
                  <a:gd name="T12" fmla="*/ 0 w 672"/>
                  <a:gd name="T13" fmla="*/ 7 h 70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2" h="704">
                    <a:moveTo>
                      <a:pt x="0" y="651"/>
                    </a:moveTo>
                    <a:lnTo>
                      <a:pt x="0" y="651"/>
                    </a:lnTo>
                    <a:cubicBezTo>
                      <a:pt x="137" y="684"/>
                      <a:pt x="307" y="703"/>
                      <a:pt x="490" y="703"/>
                    </a:cubicBezTo>
                    <a:cubicBezTo>
                      <a:pt x="552" y="703"/>
                      <a:pt x="613" y="701"/>
                      <a:pt x="671" y="696"/>
                    </a:cubicBezTo>
                    <a:cubicBezTo>
                      <a:pt x="671" y="0"/>
                      <a:pt x="671" y="232"/>
                      <a:pt x="671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1"/>
                    </a:cubicBezTo>
                  </a:path>
                </a:pathLst>
              </a:custGeom>
              <a:solidFill>
                <a:srgbClr val="8DC63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8" name="Freeform 195"/>
              <p:cNvSpPr>
                <a:spLocks noChangeArrowheads="1"/>
              </p:cNvSpPr>
              <p:nvPr/>
            </p:nvSpPr>
            <p:spPr bwMode="auto">
              <a:xfrm>
                <a:off x="1047751" y="4983927"/>
                <a:ext cx="596900" cy="192088"/>
              </a:xfrm>
              <a:custGeom>
                <a:avLst/>
                <a:gdLst>
                  <a:gd name="T0" fmla="*/ 19 w 1664"/>
                  <a:gd name="T1" fmla="*/ 3 h 540"/>
                  <a:gd name="T2" fmla="*/ 19 w 1664"/>
                  <a:gd name="T3" fmla="*/ 3 h 540"/>
                  <a:gd name="T4" fmla="*/ 9 w 1664"/>
                  <a:gd name="T5" fmla="*/ 6 h 540"/>
                  <a:gd name="T6" fmla="*/ 0 w 1664"/>
                  <a:gd name="T7" fmla="*/ 3 h 540"/>
                  <a:gd name="T8" fmla="*/ 9 w 1664"/>
                  <a:gd name="T9" fmla="*/ 0 h 540"/>
                  <a:gd name="T10" fmla="*/ 19 w 1664"/>
                  <a:gd name="T11" fmla="*/ 3 h 5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40">
                    <a:moveTo>
                      <a:pt x="1663" y="269"/>
                    </a:moveTo>
                    <a:lnTo>
                      <a:pt x="1663" y="269"/>
                    </a:lnTo>
                    <a:cubicBezTo>
                      <a:pt x="1663" y="418"/>
                      <a:pt x="1290" y="539"/>
                      <a:pt x="831" y="539"/>
                    </a:cubicBezTo>
                    <a:cubicBezTo>
                      <a:pt x="372" y="539"/>
                      <a:pt x="0" y="418"/>
                      <a:pt x="0" y="269"/>
                    </a:cubicBezTo>
                    <a:cubicBezTo>
                      <a:pt x="0" y="120"/>
                      <a:pt x="372" y="0"/>
                      <a:pt x="831" y="0"/>
                    </a:cubicBezTo>
                    <a:cubicBezTo>
                      <a:pt x="1290" y="0"/>
                      <a:pt x="1663" y="120"/>
                      <a:pt x="1663" y="269"/>
                    </a:cubicBezTo>
                  </a:path>
                </a:pathLst>
              </a:custGeom>
              <a:solidFill>
                <a:srgbClr val="40672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39" name="Freeform 196"/>
              <p:cNvSpPr>
                <a:spLocks noChangeArrowheads="1"/>
              </p:cNvSpPr>
              <p:nvPr/>
            </p:nvSpPr>
            <p:spPr bwMode="auto">
              <a:xfrm>
                <a:off x="1047751" y="4898202"/>
                <a:ext cx="596900" cy="250825"/>
              </a:xfrm>
              <a:custGeom>
                <a:avLst/>
                <a:gdLst>
                  <a:gd name="T0" fmla="*/ 0 w 1664"/>
                  <a:gd name="T1" fmla="*/ 0 h 703"/>
                  <a:gd name="T2" fmla="*/ 0 w 1664"/>
                  <a:gd name="T3" fmla="*/ 0 h 703"/>
                  <a:gd name="T4" fmla="*/ 0 w 1664"/>
                  <a:gd name="T5" fmla="*/ 5 h 703"/>
                  <a:gd name="T6" fmla="*/ 9 w 1664"/>
                  <a:gd name="T7" fmla="*/ 8 h 703"/>
                  <a:gd name="T8" fmla="*/ 19 w 1664"/>
                  <a:gd name="T9" fmla="*/ 5 h 703"/>
                  <a:gd name="T10" fmla="*/ 19 w 1664"/>
                  <a:gd name="T11" fmla="*/ 0 h 703"/>
                  <a:gd name="T12" fmla="*/ 0 w 1664"/>
                  <a:gd name="T13" fmla="*/ 0 h 70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664" h="70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433"/>
                      <a:pt x="0" y="289"/>
                      <a:pt x="0" y="433"/>
                    </a:cubicBezTo>
                    <a:cubicBezTo>
                      <a:pt x="0" y="582"/>
                      <a:pt x="372" y="702"/>
                      <a:pt x="831" y="702"/>
                    </a:cubicBezTo>
                    <a:cubicBezTo>
                      <a:pt x="1290" y="702"/>
                      <a:pt x="1663" y="582"/>
                      <a:pt x="1663" y="433"/>
                    </a:cubicBezTo>
                    <a:cubicBezTo>
                      <a:pt x="1663" y="0"/>
                      <a:pt x="1663" y="145"/>
                      <a:pt x="1663" y="0"/>
                    </a:cubicBezTo>
                    <a:cubicBezTo>
                      <a:pt x="1109" y="0"/>
                      <a:pt x="555" y="0"/>
                      <a:pt x="0" y="0"/>
                    </a:cubicBezTo>
                  </a:path>
                </a:pathLst>
              </a:custGeom>
              <a:solidFill>
                <a:srgbClr val="76A83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40" name="Freeform 197"/>
              <p:cNvSpPr>
                <a:spLocks noChangeArrowheads="1"/>
              </p:cNvSpPr>
              <p:nvPr/>
            </p:nvSpPr>
            <p:spPr bwMode="auto">
              <a:xfrm>
                <a:off x="1171576" y="4898202"/>
                <a:ext cx="239713" cy="250825"/>
              </a:xfrm>
              <a:custGeom>
                <a:avLst/>
                <a:gdLst>
                  <a:gd name="T0" fmla="*/ 0 w 672"/>
                  <a:gd name="T1" fmla="*/ 7 h 703"/>
                  <a:gd name="T2" fmla="*/ 0 w 672"/>
                  <a:gd name="T3" fmla="*/ 7 h 703"/>
                  <a:gd name="T4" fmla="*/ 6 w 672"/>
                  <a:gd name="T5" fmla="*/ 8 h 703"/>
                  <a:gd name="T6" fmla="*/ 8 w 672"/>
                  <a:gd name="T7" fmla="*/ 8 h 703"/>
                  <a:gd name="T8" fmla="*/ 8 w 672"/>
                  <a:gd name="T9" fmla="*/ 0 h 703"/>
                  <a:gd name="T10" fmla="*/ 0 w 672"/>
                  <a:gd name="T11" fmla="*/ 0 h 703"/>
                  <a:gd name="T12" fmla="*/ 0 w 672"/>
                  <a:gd name="T13" fmla="*/ 7 h 70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72" h="703">
                    <a:moveTo>
                      <a:pt x="0" y="650"/>
                    </a:moveTo>
                    <a:lnTo>
                      <a:pt x="0" y="650"/>
                    </a:lnTo>
                    <a:cubicBezTo>
                      <a:pt x="137" y="683"/>
                      <a:pt x="307" y="702"/>
                      <a:pt x="490" y="702"/>
                    </a:cubicBezTo>
                    <a:cubicBezTo>
                      <a:pt x="552" y="702"/>
                      <a:pt x="613" y="700"/>
                      <a:pt x="671" y="696"/>
                    </a:cubicBezTo>
                    <a:cubicBezTo>
                      <a:pt x="671" y="0"/>
                      <a:pt x="671" y="232"/>
                      <a:pt x="671" y="0"/>
                    </a:cubicBezTo>
                    <a:cubicBezTo>
                      <a:pt x="0" y="0"/>
                      <a:pt x="224" y="0"/>
                      <a:pt x="0" y="0"/>
                    </a:cubicBezTo>
                    <a:cubicBezTo>
                      <a:pt x="0" y="217"/>
                      <a:pt x="0" y="434"/>
                      <a:pt x="0" y="650"/>
                    </a:cubicBezTo>
                  </a:path>
                </a:pathLst>
              </a:custGeom>
              <a:solidFill>
                <a:srgbClr val="8DC63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41" name="Freeform 198"/>
              <p:cNvSpPr>
                <a:spLocks noChangeArrowheads="1"/>
              </p:cNvSpPr>
              <p:nvPr/>
            </p:nvSpPr>
            <p:spPr bwMode="auto">
              <a:xfrm>
                <a:off x="1047751" y="4801365"/>
                <a:ext cx="596900" cy="192088"/>
              </a:xfrm>
              <a:custGeom>
                <a:avLst/>
                <a:gdLst>
                  <a:gd name="T0" fmla="*/ 19 w 1664"/>
                  <a:gd name="T1" fmla="*/ 3 h 540"/>
                  <a:gd name="T2" fmla="*/ 19 w 1664"/>
                  <a:gd name="T3" fmla="*/ 3 h 540"/>
                  <a:gd name="T4" fmla="*/ 9 w 1664"/>
                  <a:gd name="T5" fmla="*/ 6 h 540"/>
                  <a:gd name="T6" fmla="*/ 0 w 1664"/>
                  <a:gd name="T7" fmla="*/ 3 h 540"/>
                  <a:gd name="T8" fmla="*/ 9 w 1664"/>
                  <a:gd name="T9" fmla="*/ 0 h 540"/>
                  <a:gd name="T10" fmla="*/ 19 w 1664"/>
                  <a:gd name="T11" fmla="*/ 3 h 5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4" h="540">
                    <a:moveTo>
                      <a:pt x="1663" y="270"/>
                    </a:moveTo>
                    <a:lnTo>
                      <a:pt x="1663" y="270"/>
                    </a:lnTo>
                    <a:cubicBezTo>
                      <a:pt x="1663" y="418"/>
                      <a:pt x="1290" y="539"/>
                      <a:pt x="831" y="539"/>
                    </a:cubicBezTo>
                    <a:cubicBezTo>
                      <a:pt x="372" y="539"/>
                      <a:pt x="0" y="418"/>
                      <a:pt x="0" y="270"/>
                    </a:cubicBezTo>
                    <a:cubicBezTo>
                      <a:pt x="0" y="121"/>
                      <a:pt x="372" y="0"/>
                      <a:pt x="831" y="0"/>
                    </a:cubicBezTo>
                    <a:cubicBezTo>
                      <a:pt x="1290" y="0"/>
                      <a:pt x="1663" y="121"/>
                      <a:pt x="1663" y="270"/>
                    </a:cubicBezTo>
                  </a:path>
                </a:pathLst>
              </a:custGeom>
              <a:solidFill>
                <a:srgbClr val="40672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42" name="Freeform 199"/>
              <p:cNvSpPr>
                <a:spLocks noChangeArrowheads="1"/>
              </p:cNvSpPr>
              <p:nvPr/>
            </p:nvSpPr>
            <p:spPr bwMode="auto">
              <a:xfrm>
                <a:off x="-792161" y="3069402"/>
                <a:ext cx="3475038" cy="3419475"/>
              </a:xfrm>
              <a:custGeom>
                <a:avLst/>
                <a:gdLst>
                  <a:gd name="T0" fmla="*/ 87 w 9657"/>
                  <a:gd name="T1" fmla="*/ 8 h 9505"/>
                  <a:gd name="T2" fmla="*/ 10 w 9657"/>
                  <a:gd name="T3" fmla="*/ 24 h 9505"/>
                  <a:gd name="T4" fmla="*/ 8 w 9657"/>
                  <a:gd name="T5" fmla="*/ 82 h 9505"/>
                  <a:gd name="T6" fmla="*/ 90 w 9657"/>
                  <a:gd name="T7" fmla="*/ 100 h 9505"/>
                  <a:gd name="T8" fmla="*/ 58 w 9657"/>
                  <a:gd name="T9" fmla="*/ 107 h 9505"/>
                  <a:gd name="T10" fmla="*/ 28 w 9657"/>
                  <a:gd name="T11" fmla="*/ 89 h 9505"/>
                  <a:gd name="T12" fmla="*/ 20 w 9657"/>
                  <a:gd name="T13" fmla="*/ 96 h 9505"/>
                  <a:gd name="T14" fmla="*/ 6 w 9657"/>
                  <a:gd name="T15" fmla="*/ 76 h 9505"/>
                  <a:gd name="T16" fmla="*/ 11 w 9657"/>
                  <a:gd name="T17" fmla="*/ 24 h 9505"/>
                  <a:gd name="T18" fmla="*/ 32 w 9657"/>
                  <a:gd name="T19" fmla="*/ 11 h 9505"/>
                  <a:gd name="T20" fmla="*/ 78 w 9657"/>
                  <a:gd name="T21" fmla="*/ 8 h 9505"/>
                  <a:gd name="T22" fmla="*/ 96 w 9657"/>
                  <a:gd name="T23" fmla="*/ 17 h 9505"/>
                  <a:gd name="T24" fmla="*/ 59 w 9657"/>
                  <a:gd name="T25" fmla="*/ 95 h 9505"/>
                  <a:gd name="T26" fmla="*/ 15 w 9657"/>
                  <a:gd name="T27" fmla="*/ 60 h 9505"/>
                  <a:gd name="T28" fmla="*/ 25 w 9657"/>
                  <a:gd name="T29" fmla="*/ 19 h 9505"/>
                  <a:gd name="T30" fmla="*/ 74 w 9657"/>
                  <a:gd name="T31" fmla="*/ 18 h 9505"/>
                  <a:gd name="T32" fmla="*/ 88 w 9657"/>
                  <a:gd name="T33" fmla="*/ 24 h 9505"/>
                  <a:gd name="T34" fmla="*/ 59 w 9657"/>
                  <a:gd name="T35" fmla="*/ 92 h 9505"/>
                  <a:gd name="T36" fmla="*/ 10 w 9657"/>
                  <a:gd name="T37" fmla="*/ 52 h 9505"/>
                  <a:gd name="T38" fmla="*/ 24 w 9657"/>
                  <a:gd name="T39" fmla="*/ 21 h 9505"/>
                  <a:gd name="T40" fmla="*/ 91 w 9657"/>
                  <a:gd name="T41" fmla="*/ 33 h 9505"/>
                  <a:gd name="T42" fmla="*/ 101 w 9657"/>
                  <a:gd name="T43" fmla="*/ 46 h 9505"/>
                  <a:gd name="T44" fmla="*/ 60 w 9657"/>
                  <a:gd name="T45" fmla="*/ 93 h 9505"/>
                  <a:gd name="T46" fmla="*/ 41 w 9657"/>
                  <a:gd name="T47" fmla="*/ 45 h 9505"/>
                  <a:gd name="T48" fmla="*/ 57 w 9657"/>
                  <a:gd name="T49" fmla="*/ 63 h 9505"/>
                  <a:gd name="T50" fmla="*/ 60 w 9657"/>
                  <a:gd name="T51" fmla="*/ 45 h 9505"/>
                  <a:gd name="T52" fmla="*/ 74 w 9657"/>
                  <a:gd name="T53" fmla="*/ 53 h 9505"/>
                  <a:gd name="T54" fmla="*/ 40 w 9657"/>
                  <a:gd name="T55" fmla="*/ 44 h 9505"/>
                  <a:gd name="T56" fmla="*/ 15 w 9657"/>
                  <a:gd name="T57" fmla="*/ 38 h 9505"/>
                  <a:gd name="T58" fmla="*/ 15 w 9657"/>
                  <a:gd name="T59" fmla="*/ 60 h 9505"/>
                  <a:gd name="T60" fmla="*/ 60 w 9657"/>
                  <a:gd name="T61" fmla="*/ 93 h 9505"/>
                  <a:gd name="T62" fmla="*/ 84 w 9657"/>
                  <a:gd name="T63" fmla="*/ 66 h 9505"/>
                  <a:gd name="T64" fmla="*/ 101 w 9657"/>
                  <a:gd name="T65" fmla="*/ 43 h 9505"/>
                  <a:gd name="T66" fmla="*/ 74 w 9657"/>
                  <a:gd name="T67" fmla="*/ 18 h 9505"/>
                  <a:gd name="T68" fmla="*/ 27 w 9657"/>
                  <a:gd name="T69" fmla="*/ 35 h 9505"/>
                  <a:gd name="T70" fmla="*/ 10 w 9657"/>
                  <a:gd name="T71" fmla="*/ 54 h 9505"/>
                  <a:gd name="T72" fmla="*/ 27 w 9657"/>
                  <a:gd name="T73" fmla="*/ 89 h 9505"/>
                  <a:gd name="T74" fmla="*/ 37 w 9657"/>
                  <a:gd name="T75" fmla="*/ 78 h 9505"/>
                  <a:gd name="T76" fmla="*/ 61 w 9657"/>
                  <a:gd name="T77" fmla="*/ 94 h 9505"/>
                  <a:gd name="T78" fmla="*/ 85 w 9657"/>
                  <a:gd name="T79" fmla="*/ 67 h 9505"/>
                  <a:gd name="T80" fmla="*/ 109 w 9657"/>
                  <a:gd name="T81" fmla="*/ 58 h 9505"/>
                  <a:gd name="T82" fmla="*/ 106 w 9657"/>
                  <a:gd name="T83" fmla="*/ 37 h 9505"/>
                  <a:gd name="T84" fmla="*/ 74 w 9657"/>
                  <a:gd name="T85" fmla="*/ 17 h 9505"/>
                  <a:gd name="T86" fmla="*/ 34 w 9657"/>
                  <a:gd name="T87" fmla="*/ 21 h 9505"/>
                  <a:gd name="T88" fmla="*/ 11 w 9657"/>
                  <a:gd name="T89" fmla="*/ 29 h 9505"/>
                  <a:gd name="T90" fmla="*/ 3 w 9657"/>
                  <a:gd name="T91" fmla="*/ 45 h 9505"/>
                  <a:gd name="T92" fmla="*/ 5 w 9657"/>
                  <a:gd name="T93" fmla="*/ 60 h 9505"/>
                  <a:gd name="T94" fmla="*/ 6 w 9657"/>
                  <a:gd name="T95" fmla="*/ 60 h 9505"/>
                  <a:gd name="T96" fmla="*/ 20 w 9657"/>
                  <a:gd name="T97" fmla="*/ 97 h 9505"/>
                  <a:gd name="T98" fmla="*/ 56 w 9657"/>
                  <a:gd name="T99" fmla="*/ 106 h 9505"/>
                  <a:gd name="T100" fmla="*/ 86 w 9657"/>
                  <a:gd name="T101" fmla="*/ 97 h 9505"/>
                  <a:gd name="T102" fmla="*/ 98 w 9657"/>
                  <a:gd name="T103" fmla="*/ 85 h 9505"/>
                  <a:gd name="T104" fmla="*/ 108 w 9657"/>
                  <a:gd name="T105" fmla="*/ 73 h 9505"/>
                  <a:gd name="T106" fmla="*/ 107 w 9657"/>
                  <a:gd name="T107" fmla="*/ 36 h 9505"/>
                  <a:gd name="T108" fmla="*/ 102 w 9657"/>
                  <a:gd name="T109" fmla="*/ 23 h 9505"/>
                  <a:gd name="T110" fmla="*/ 78 w 9657"/>
                  <a:gd name="T111" fmla="*/ 8 h 9505"/>
                  <a:gd name="T112" fmla="*/ 27 w 9657"/>
                  <a:gd name="T113" fmla="*/ 9 h 9505"/>
                  <a:gd name="T114" fmla="*/ 6 w 9657"/>
                  <a:gd name="T115" fmla="*/ 77 h 9505"/>
                  <a:gd name="T116" fmla="*/ 32 w 9657"/>
                  <a:gd name="T117" fmla="*/ 104 h 9505"/>
                  <a:gd name="T118" fmla="*/ 87 w 9657"/>
                  <a:gd name="T119" fmla="*/ 98 h 9505"/>
                  <a:gd name="T120" fmla="*/ 100 w 9657"/>
                  <a:gd name="T121" fmla="*/ 89 h 950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9657" h="9505">
                    <a:moveTo>
                      <a:pt x="9586" y="5436"/>
                    </a:moveTo>
                    <a:lnTo>
                      <a:pt x="9586" y="5436"/>
                    </a:lnTo>
                    <a:cubicBezTo>
                      <a:pt x="9594" y="4332"/>
                      <a:pt x="9591" y="4700"/>
                      <a:pt x="9594" y="4332"/>
                    </a:cubicBezTo>
                    <a:cubicBezTo>
                      <a:pt x="9629" y="4325"/>
                      <a:pt x="9656" y="4294"/>
                      <a:pt x="9656" y="4257"/>
                    </a:cubicBezTo>
                    <a:cubicBezTo>
                      <a:pt x="9656" y="4215"/>
                      <a:pt x="9622" y="4180"/>
                      <a:pt x="9580" y="4180"/>
                    </a:cubicBezTo>
                    <a:cubicBezTo>
                      <a:pt x="9450" y="3641"/>
                      <a:pt x="9493" y="3820"/>
                      <a:pt x="9450" y="3641"/>
                    </a:cubicBezTo>
                    <a:cubicBezTo>
                      <a:pt x="9458" y="3633"/>
                      <a:pt x="9463" y="3622"/>
                      <a:pt x="9463" y="3608"/>
                    </a:cubicBezTo>
                    <a:cubicBezTo>
                      <a:pt x="9463" y="3586"/>
                      <a:pt x="9447" y="3569"/>
                      <a:pt x="9426" y="3565"/>
                    </a:cubicBezTo>
                    <a:cubicBezTo>
                      <a:pt x="8858" y="2078"/>
                      <a:pt x="9047" y="2573"/>
                      <a:pt x="8858" y="2078"/>
                    </a:cubicBezTo>
                    <a:cubicBezTo>
                      <a:pt x="8872" y="2065"/>
                      <a:pt x="8882" y="2047"/>
                      <a:pt x="8882" y="2026"/>
                    </a:cubicBezTo>
                    <a:cubicBezTo>
                      <a:pt x="8882" y="1989"/>
                      <a:pt x="8851" y="1958"/>
                      <a:pt x="8813" y="1958"/>
                    </a:cubicBezTo>
                    <a:cubicBezTo>
                      <a:pt x="8806" y="1958"/>
                      <a:pt x="8800" y="1959"/>
                      <a:pt x="8794" y="1961"/>
                    </a:cubicBezTo>
                    <a:cubicBezTo>
                      <a:pt x="8395" y="1516"/>
                      <a:pt x="8528" y="1664"/>
                      <a:pt x="8395" y="1516"/>
                    </a:cubicBezTo>
                    <a:cubicBezTo>
                      <a:pt x="8404" y="1502"/>
                      <a:pt x="8410" y="1487"/>
                      <a:pt x="8410" y="1469"/>
                    </a:cubicBezTo>
                    <a:cubicBezTo>
                      <a:pt x="8410" y="1421"/>
                      <a:pt x="8371" y="1383"/>
                      <a:pt x="8324" y="1383"/>
                    </a:cubicBezTo>
                    <a:cubicBezTo>
                      <a:pt x="8304" y="1383"/>
                      <a:pt x="8286" y="1390"/>
                      <a:pt x="8272" y="1401"/>
                    </a:cubicBezTo>
                    <a:cubicBezTo>
                      <a:pt x="7554" y="816"/>
                      <a:pt x="7793" y="1011"/>
                      <a:pt x="7554" y="816"/>
                    </a:cubicBezTo>
                    <a:cubicBezTo>
                      <a:pt x="7560" y="805"/>
                      <a:pt x="7564" y="792"/>
                      <a:pt x="7564" y="778"/>
                    </a:cubicBezTo>
                    <a:cubicBezTo>
                      <a:pt x="7564" y="734"/>
                      <a:pt x="7528" y="697"/>
                      <a:pt x="7482" y="697"/>
                    </a:cubicBezTo>
                    <a:cubicBezTo>
                      <a:pt x="7458" y="697"/>
                      <a:pt x="7436" y="708"/>
                      <a:pt x="7420" y="726"/>
                    </a:cubicBezTo>
                    <a:cubicBezTo>
                      <a:pt x="5724" y="70"/>
                      <a:pt x="6290" y="288"/>
                      <a:pt x="5724" y="70"/>
                    </a:cubicBezTo>
                    <a:cubicBezTo>
                      <a:pt x="5724" y="69"/>
                      <a:pt x="5724" y="68"/>
                      <a:pt x="5724" y="68"/>
                    </a:cubicBezTo>
                    <a:cubicBezTo>
                      <a:pt x="5724" y="31"/>
                      <a:pt x="5693" y="0"/>
                      <a:pt x="5656" y="0"/>
                    </a:cubicBezTo>
                    <a:cubicBezTo>
                      <a:pt x="5627" y="0"/>
                      <a:pt x="5603" y="17"/>
                      <a:pt x="5593" y="41"/>
                    </a:cubicBezTo>
                    <a:cubicBezTo>
                      <a:pt x="3814" y="90"/>
                      <a:pt x="4407" y="73"/>
                      <a:pt x="3814" y="90"/>
                    </a:cubicBezTo>
                    <a:cubicBezTo>
                      <a:pt x="3807" y="75"/>
                      <a:pt x="3792" y="64"/>
                      <a:pt x="3773" y="64"/>
                    </a:cubicBezTo>
                    <a:cubicBezTo>
                      <a:pt x="3747" y="64"/>
                      <a:pt x="3726" y="85"/>
                      <a:pt x="3726" y="110"/>
                    </a:cubicBezTo>
                    <a:cubicBezTo>
                      <a:pt x="2270" y="698"/>
                      <a:pt x="2756" y="502"/>
                      <a:pt x="2270" y="698"/>
                    </a:cubicBezTo>
                    <a:cubicBezTo>
                      <a:pt x="2259" y="687"/>
                      <a:pt x="2245" y="680"/>
                      <a:pt x="2228" y="680"/>
                    </a:cubicBezTo>
                    <a:cubicBezTo>
                      <a:pt x="2198" y="680"/>
                      <a:pt x="2173" y="705"/>
                      <a:pt x="2173" y="736"/>
                    </a:cubicBezTo>
                    <a:cubicBezTo>
                      <a:pt x="2173" y="743"/>
                      <a:pt x="2175" y="750"/>
                      <a:pt x="2177" y="756"/>
                    </a:cubicBezTo>
                    <a:cubicBezTo>
                      <a:pt x="1532" y="1315"/>
                      <a:pt x="1747" y="1128"/>
                      <a:pt x="1532" y="1315"/>
                    </a:cubicBezTo>
                    <a:cubicBezTo>
                      <a:pt x="1529" y="1315"/>
                      <a:pt x="1526" y="1313"/>
                      <a:pt x="1522" y="1313"/>
                    </a:cubicBezTo>
                    <a:cubicBezTo>
                      <a:pt x="1497" y="1313"/>
                      <a:pt x="1475" y="1334"/>
                      <a:pt x="1475" y="1360"/>
                    </a:cubicBezTo>
                    <a:cubicBezTo>
                      <a:pt x="1475" y="1363"/>
                      <a:pt x="1477" y="1366"/>
                      <a:pt x="1478" y="1370"/>
                    </a:cubicBezTo>
                    <a:cubicBezTo>
                      <a:pt x="909" y="2001"/>
                      <a:pt x="1099" y="1790"/>
                      <a:pt x="909" y="2001"/>
                    </a:cubicBezTo>
                    <a:cubicBezTo>
                      <a:pt x="904" y="1999"/>
                      <a:pt x="899" y="1998"/>
                      <a:pt x="893" y="1998"/>
                    </a:cubicBezTo>
                    <a:cubicBezTo>
                      <a:pt x="867" y="1998"/>
                      <a:pt x="847" y="2019"/>
                      <a:pt x="847" y="2045"/>
                    </a:cubicBezTo>
                    <a:cubicBezTo>
                      <a:pt x="847" y="2055"/>
                      <a:pt x="851" y="2064"/>
                      <a:pt x="856" y="2073"/>
                    </a:cubicBezTo>
                    <a:cubicBezTo>
                      <a:pt x="562" y="2574"/>
                      <a:pt x="660" y="2407"/>
                      <a:pt x="562" y="2574"/>
                    </a:cubicBezTo>
                    <a:cubicBezTo>
                      <a:pt x="558" y="2572"/>
                      <a:pt x="552" y="2571"/>
                      <a:pt x="547" y="2571"/>
                    </a:cubicBezTo>
                    <a:cubicBezTo>
                      <a:pt x="516" y="2571"/>
                      <a:pt x="492" y="2596"/>
                      <a:pt x="492" y="2627"/>
                    </a:cubicBezTo>
                    <a:cubicBezTo>
                      <a:pt x="492" y="2647"/>
                      <a:pt x="503" y="2664"/>
                      <a:pt x="518" y="2674"/>
                    </a:cubicBezTo>
                    <a:cubicBezTo>
                      <a:pt x="165" y="3803"/>
                      <a:pt x="283" y="3426"/>
                      <a:pt x="165" y="3803"/>
                    </a:cubicBezTo>
                    <a:cubicBezTo>
                      <a:pt x="126" y="3804"/>
                      <a:pt x="93" y="3836"/>
                      <a:pt x="93" y="3876"/>
                    </a:cubicBezTo>
                    <a:cubicBezTo>
                      <a:pt x="93" y="3906"/>
                      <a:pt x="111" y="3931"/>
                      <a:pt x="136" y="3942"/>
                    </a:cubicBezTo>
                    <a:cubicBezTo>
                      <a:pt x="44" y="4937"/>
                      <a:pt x="75" y="4605"/>
                      <a:pt x="44" y="4937"/>
                    </a:cubicBezTo>
                    <a:cubicBezTo>
                      <a:pt x="18" y="4942"/>
                      <a:pt x="0" y="4965"/>
                      <a:pt x="0" y="4992"/>
                    </a:cubicBezTo>
                    <a:cubicBezTo>
                      <a:pt x="0" y="5021"/>
                      <a:pt x="22" y="5045"/>
                      <a:pt x="51" y="5047"/>
                    </a:cubicBezTo>
                    <a:cubicBezTo>
                      <a:pt x="135" y="5496"/>
                      <a:pt x="107" y="5347"/>
                      <a:pt x="135" y="5496"/>
                    </a:cubicBezTo>
                    <a:cubicBezTo>
                      <a:pt x="126" y="5503"/>
                      <a:pt x="119" y="5514"/>
                      <a:pt x="119" y="5527"/>
                    </a:cubicBezTo>
                    <a:cubicBezTo>
                      <a:pt x="119" y="5545"/>
                      <a:pt x="132" y="5560"/>
                      <a:pt x="150" y="5564"/>
                    </a:cubicBezTo>
                    <a:cubicBezTo>
                      <a:pt x="411" y="6509"/>
                      <a:pt x="324" y="6194"/>
                      <a:pt x="411" y="6509"/>
                    </a:cubicBezTo>
                    <a:cubicBezTo>
                      <a:pt x="397" y="6519"/>
                      <a:pt x="388" y="6535"/>
                      <a:pt x="388" y="6553"/>
                    </a:cubicBezTo>
                    <a:cubicBezTo>
                      <a:pt x="388" y="6584"/>
                      <a:pt x="414" y="6609"/>
                      <a:pt x="444" y="6609"/>
                    </a:cubicBezTo>
                    <a:cubicBezTo>
                      <a:pt x="445" y="6609"/>
                      <a:pt x="447" y="6609"/>
                      <a:pt x="448" y="6609"/>
                    </a:cubicBezTo>
                    <a:cubicBezTo>
                      <a:pt x="690" y="7094"/>
                      <a:pt x="610" y="6933"/>
                      <a:pt x="690" y="7094"/>
                    </a:cubicBezTo>
                    <a:cubicBezTo>
                      <a:pt x="681" y="7105"/>
                      <a:pt x="675" y="7119"/>
                      <a:pt x="675" y="7135"/>
                    </a:cubicBezTo>
                    <a:cubicBezTo>
                      <a:pt x="675" y="7170"/>
                      <a:pt x="704" y="7199"/>
                      <a:pt x="739" y="7199"/>
                    </a:cubicBezTo>
                    <a:cubicBezTo>
                      <a:pt x="745" y="7199"/>
                      <a:pt x="752" y="7198"/>
                      <a:pt x="757" y="7196"/>
                    </a:cubicBezTo>
                    <a:cubicBezTo>
                      <a:pt x="1648" y="8296"/>
                      <a:pt x="1351" y="7930"/>
                      <a:pt x="1648" y="8296"/>
                    </a:cubicBezTo>
                    <a:cubicBezTo>
                      <a:pt x="1645" y="8302"/>
                      <a:pt x="1642" y="8309"/>
                      <a:pt x="1642" y="8316"/>
                    </a:cubicBezTo>
                    <a:cubicBezTo>
                      <a:pt x="1642" y="8340"/>
                      <a:pt x="1661" y="8359"/>
                      <a:pt x="1685" y="8359"/>
                    </a:cubicBezTo>
                    <a:cubicBezTo>
                      <a:pt x="1695" y="8359"/>
                      <a:pt x="1704" y="8355"/>
                      <a:pt x="1711" y="8349"/>
                    </a:cubicBezTo>
                    <a:cubicBezTo>
                      <a:pt x="2773" y="9029"/>
                      <a:pt x="2419" y="8803"/>
                      <a:pt x="2773" y="9029"/>
                    </a:cubicBezTo>
                    <a:cubicBezTo>
                      <a:pt x="2770" y="9038"/>
                      <a:pt x="2769" y="9046"/>
                      <a:pt x="2769" y="9055"/>
                    </a:cubicBezTo>
                    <a:cubicBezTo>
                      <a:pt x="2769" y="9102"/>
                      <a:pt x="2807" y="9139"/>
                      <a:pt x="2853" y="9139"/>
                    </a:cubicBezTo>
                    <a:cubicBezTo>
                      <a:pt x="2884" y="9139"/>
                      <a:pt x="2911" y="9122"/>
                      <a:pt x="2925" y="9098"/>
                    </a:cubicBezTo>
                    <a:cubicBezTo>
                      <a:pt x="4090" y="9463"/>
                      <a:pt x="3702" y="9341"/>
                      <a:pt x="4090" y="9463"/>
                    </a:cubicBezTo>
                    <a:cubicBezTo>
                      <a:pt x="4095" y="9486"/>
                      <a:pt x="4115" y="9504"/>
                      <a:pt x="4140" y="9504"/>
                    </a:cubicBezTo>
                    <a:cubicBezTo>
                      <a:pt x="4161" y="9504"/>
                      <a:pt x="4179" y="9490"/>
                      <a:pt x="4186" y="9472"/>
                    </a:cubicBezTo>
                    <a:cubicBezTo>
                      <a:pt x="5861" y="9406"/>
                      <a:pt x="5303" y="9428"/>
                      <a:pt x="5861" y="9406"/>
                    </a:cubicBezTo>
                    <a:cubicBezTo>
                      <a:pt x="5872" y="9425"/>
                      <a:pt x="5893" y="9437"/>
                      <a:pt x="5916" y="9437"/>
                    </a:cubicBezTo>
                    <a:cubicBezTo>
                      <a:pt x="5951" y="9437"/>
                      <a:pt x="5980" y="9410"/>
                      <a:pt x="5983" y="9376"/>
                    </a:cubicBezTo>
                    <a:cubicBezTo>
                      <a:pt x="7646" y="8588"/>
                      <a:pt x="7092" y="8851"/>
                      <a:pt x="7646" y="8588"/>
                    </a:cubicBezTo>
                    <a:cubicBezTo>
                      <a:pt x="7656" y="8597"/>
                      <a:pt x="7669" y="8603"/>
                      <a:pt x="7683" y="8603"/>
                    </a:cubicBezTo>
                    <a:cubicBezTo>
                      <a:pt x="7714" y="8603"/>
                      <a:pt x="7739" y="8578"/>
                      <a:pt x="7739" y="8547"/>
                    </a:cubicBezTo>
                    <a:cubicBezTo>
                      <a:pt x="7739" y="8539"/>
                      <a:pt x="7738" y="8532"/>
                      <a:pt x="7735" y="8526"/>
                    </a:cubicBezTo>
                    <a:cubicBezTo>
                      <a:pt x="8567" y="7703"/>
                      <a:pt x="8290" y="7978"/>
                      <a:pt x="8567" y="7703"/>
                    </a:cubicBezTo>
                    <a:cubicBezTo>
                      <a:pt x="8574" y="7706"/>
                      <a:pt x="8582" y="7708"/>
                      <a:pt x="8591" y="7708"/>
                    </a:cubicBezTo>
                    <a:cubicBezTo>
                      <a:pt x="8621" y="7708"/>
                      <a:pt x="8647" y="7684"/>
                      <a:pt x="8647" y="7653"/>
                    </a:cubicBezTo>
                    <a:cubicBezTo>
                      <a:pt x="8647" y="7637"/>
                      <a:pt x="8640" y="7624"/>
                      <a:pt x="8630" y="7613"/>
                    </a:cubicBezTo>
                    <a:cubicBezTo>
                      <a:pt x="9287" y="6417"/>
                      <a:pt x="9068" y="6816"/>
                      <a:pt x="9287" y="6417"/>
                    </a:cubicBezTo>
                    <a:cubicBezTo>
                      <a:pt x="9295" y="6420"/>
                      <a:pt x="9302" y="6421"/>
                      <a:pt x="9309" y="6421"/>
                    </a:cubicBezTo>
                    <a:cubicBezTo>
                      <a:pt x="9352" y="6421"/>
                      <a:pt x="9386" y="6387"/>
                      <a:pt x="9386" y="6344"/>
                    </a:cubicBezTo>
                    <a:cubicBezTo>
                      <a:pt x="9386" y="6314"/>
                      <a:pt x="9370" y="6289"/>
                      <a:pt x="9345" y="6276"/>
                    </a:cubicBezTo>
                    <a:cubicBezTo>
                      <a:pt x="9564" y="5569"/>
                      <a:pt x="9491" y="5805"/>
                      <a:pt x="9564" y="5569"/>
                    </a:cubicBezTo>
                    <a:cubicBezTo>
                      <a:pt x="9565" y="5569"/>
                      <a:pt x="9565" y="5569"/>
                      <a:pt x="9566" y="5569"/>
                    </a:cubicBezTo>
                    <a:cubicBezTo>
                      <a:pt x="9604" y="5569"/>
                      <a:pt x="9635" y="5539"/>
                      <a:pt x="9635" y="5501"/>
                    </a:cubicBezTo>
                    <a:cubicBezTo>
                      <a:pt x="9635" y="5470"/>
                      <a:pt x="9614" y="5444"/>
                      <a:pt x="9586" y="5436"/>
                    </a:cubicBezTo>
                    <a:close/>
                    <a:moveTo>
                      <a:pt x="5916" y="9303"/>
                    </a:moveTo>
                    <a:lnTo>
                      <a:pt x="5916" y="9303"/>
                    </a:lnTo>
                    <a:cubicBezTo>
                      <a:pt x="5883" y="9303"/>
                      <a:pt x="5856" y="9328"/>
                      <a:pt x="5850" y="9360"/>
                    </a:cubicBezTo>
                    <a:cubicBezTo>
                      <a:pt x="4942" y="9193"/>
                      <a:pt x="5245" y="9249"/>
                      <a:pt x="4942" y="9193"/>
                    </a:cubicBezTo>
                    <a:cubicBezTo>
                      <a:pt x="4946" y="9183"/>
                      <a:pt x="4948" y="9172"/>
                      <a:pt x="4949" y="9160"/>
                    </a:cubicBezTo>
                    <a:cubicBezTo>
                      <a:pt x="6099" y="8902"/>
                      <a:pt x="5716" y="8988"/>
                      <a:pt x="6099" y="8902"/>
                    </a:cubicBezTo>
                    <a:cubicBezTo>
                      <a:pt x="6106" y="8917"/>
                      <a:pt x="6116" y="8930"/>
                      <a:pt x="6128" y="8939"/>
                    </a:cubicBezTo>
                    <a:cubicBezTo>
                      <a:pt x="5942" y="9308"/>
                      <a:pt x="6004" y="9185"/>
                      <a:pt x="5942" y="9308"/>
                    </a:cubicBezTo>
                    <a:cubicBezTo>
                      <a:pt x="5934" y="9305"/>
                      <a:pt x="5926" y="9303"/>
                      <a:pt x="5916" y="9303"/>
                    </a:cubicBezTo>
                    <a:close/>
                    <a:moveTo>
                      <a:pt x="4140" y="9404"/>
                    </a:moveTo>
                    <a:lnTo>
                      <a:pt x="4140" y="9404"/>
                    </a:lnTo>
                    <a:cubicBezTo>
                      <a:pt x="4125" y="9404"/>
                      <a:pt x="4112" y="9411"/>
                      <a:pt x="4103" y="9421"/>
                    </a:cubicBezTo>
                    <a:cubicBezTo>
                      <a:pt x="3633" y="9087"/>
                      <a:pt x="3790" y="9198"/>
                      <a:pt x="3633" y="9087"/>
                    </a:cubicBezTo>
                    <a:cubicBezTo>
                      <a:pt x="3635" y="9084"/>
                      <a:pt x="3636" y="9080"/>
                      <a:pt x="3637" y="9077"/>
                    </a:cubicBezTo>
                    <a:cubicBezTo>
                      <a:pt x="4753" y="9157"/>
                      <a:pt x="4381" y="9130"/>
                      <a:pt x="4753" y="9157"/>
                    </a:cubicBezTo>
                    <a:cubicBezTo>
                      <a:pt x="4753" y="9162"/>
                      <a:pt x="4753" y="9166"/>
                      <a:pt x="4754" y="9171"/>
                    </a:cubicBezTo>
                    <a:cubicBezTo>
                      <a:pt x="4176" y="9420"/>
                      <a:pt x="4369" y="9337"/>
                      <a:pt x="4176" y="9420"/>
                    </a:cubicBezTo>
                    <a:cubicBezTo>
                      <a:pt x="4167" y="9411"/>
                      <a:pt x="4154" y="9404"/>
                      <a:pt x="4140" y="9404"/>
                    </a:cubicBezTo>
                    <a:close/>
                    <a:moveTo>
                      <a:pt x="2386" y="8539"/>
                    </a:moveTo>
                    <a:lnTo>
                      <a:pt x="2386" y="8539"/>
                    </a:lnTo>
                    <a:cubicBezTo>
                      <a:pt x="2360" y="8480"/>
                      <a:pt x="2369" y="8500"/>
                      <a:pt x="2360" y="8480"/>
                    </a:cubicBezTo>
                    <a:cubicBezTo>
                      <a:pt x="2364" y="7633"/>
                      <a:pt x="2363" y="7916"/>
                      <a:pt x="2364" y="7633"/>
                    </a:cubicBezTo>
                    <a:cubicBezTo>
                      <a:pt x="2370" y="7631"/>
                      <a:pt x="2376" y="7629"/>
                      <a:pt x="2381" y="7625"/>
                    </a:cubicBezTo>
                    <a:cubicBezTo>
                      <a:pt x="3228" y="8206"/>
                      <a:pt x="2946" y="8013"/>
                      <a:pt x="3228" y="8206"/>
                    </a:cubicBezTo>
                    <a:cubicBezTo>
                      <a:pt x="3224" y="8215"/>
                      <a:pt x="3221" y="8225"/>
                      <a:pt x="3221" y="8236"/>
                    </a:cubicBezTo>
                    <a:cubicBezTo>
                      <a:pt x="3221" y="8241"/>
                      <a:pt x="3222" y="8245"/>
                      <a:pt x="3222" y="8250"/>
                    </a:cubicBezTo>
                    <a:cubicBezTo>
                      <a:pt x="2492" y="8558"/>
                      <a:pt x="2736" y="8456"/>
                      <a:pt x="2492" y="8558"/>
                    </a:cubicBezTo>
                    <a:cubicBezTo>
                      <a:pt x="2504" y="8587"/>
                      <a:pt x="2500" y="8578"/>
                      <a:pt x="2504" y="8587"/>
                    </a:cubicBezTo>
                    <a:cubicBezTo>
                      <a:pt x="3234" y="8279"/>
                      <a:pt x="2991" y="8382"/>
                      <a:pt x="3234" y="8279"/>
                    </a:cubicBezTo>
                    <a:cubicBezTo>
                      <a:pt x="3248" y="8299"/>
                      <a:pt x="3271" y="8313"/>
                      <a:pt x="3298" y="8313"/>
                    </a:cubicBezTo>
                    <a:cubicBezTo>
                      <a:pt x="3301" y="8313"/>
                      <a:pt x="3304" y="8312"/>
                      <a:pt x="3306" y="8312"/>
                    </a:cubicBezTo>
                    <a:cubicBezTo>
                      <a:pt x="3525" y="8989"/>
                      <a:pt x="3452" y="8764"/>
                      <a:pt x="3525" y="8989"/>
                    </a:cubicBezTo>
                    <a:cubicBezTo>
                      <a:pt x="3516" y="8995"/>
                      <a:pt x="3507" y="9003"/>
                      <a:pt x="3502" y="9013"/>
                    </a:cubicBezTo>
                    <a:cubicBezTo>
                      <a:pt x="3130" y="8855"/>
                      <a:pt x="2758" y="8697"/>
                      <a:pt x="2386" y="8539"/>
                    </a:cubicBezTo>
                    <a:close/>
                    <a:moveTo>
                      <a:pt x="2853" y="8971"/>
                    </a:moveTo>
                    <a:lnTo>
                      <a:pt x="2853" y="8971"/>
                    </a:lnTo>
                    <a:cubicBezTo>
                      <a:pt x="2834" y="8971"/>
                      <a:pt x="2816" y="8978"/>
                      <a:pt x="2801" y="8989"/>
                    </a:cubicBezTo>
                    <a:cubicBezTo>
                      <a:pt x="2415" y="8586"/>
                      <a:pt x="2544" y="8721"/>
                      <a:pt x="2415" y="8586"/>
                    </a:cubicBezTo>
                    <a:cubicBezTo>
                      <a:pt x="3487" y="9040"/>
                      <a:pt x="3130" y="8889"/>
                      <a:pt x="3487" y="9040"/>
                    </a:cubicBezTo>
                    <a:cubicBezTo>
                      <a:pt x="2936" y="9040"/>
                      <a:pt x="3120" y="9040"/>
                      <a:pt x="2936" y="9040"/>
                    </a:cubicBezTo>
                    <a:cubicBezTo>
                      <a:pt x="2929" y="9001"/>
                      <a:pt x="2895" y="8971"/>
                      <a:pt x="2853" y="8971"/>
                    </a:cubicBezTo>
                    <a:close/>
                    <a:moveTo>
                      <a:pt x="1685" y="8273"/>
                    </a:moveTo>
                    <a:lnTo>
                      <a:pt x="1685" y="8273"/>
                    </a:lnTo>
                    <a:cubicBezTo>
                      <a:pt x="1683" y="8273"/>
                      <a:pt x="1681" y="8274"/>
                      <a:pt x="1680" y="8275"/>
                    </a:cubicBezTo>
                    <a:cubicBezTo>
                      <a:pt x="1344" y="7604"/>
                      <a:pt x="1456" y="7828"/>
                      <a:pt x="1344" y="7604"/>
                    </a:cubicBezTo>
                    <a:cubicBezTo>
                      <a:pt x="1796" y="8063"/>
                      <a:pt x="1646" y="7910"/>
                      <a:pt x="1796" y="8063"/>
                    </a:cubicBezTo>
                    <a:cubicBezTo>
                      <a:pt x="1791" y="8072"/>
                      <a:pt x="1788" y="8083"/>
                      <a:pt x="1788" y="8094"/>
                    </a:cubicBezTo>
                    <a:cubicBezTo>
                      <a:pt x="1788" y="8109"/>
                      <a:pt x="1793" y="8123"/>
                      <a:pt x="1803" y="8134"/>
                    </a:cubicBezTo>
                    <a:cubicBezTo>
                      <a:pt x="1691" y="8275"/>
                      <a:pt x="1729" y="8228"/>
                      <a:pt x="1691" y="8275"/>
                    </a:cubicBezTo>
                    <a:cubicBezTo>
                      <a:pt x="1689" y="8274"/>
                      <a:pt x="1687" y="8273"/>
                      <a:pt x="1685" y="8273"/>
                    </a:cubicBezTo>
                    <a:close/>
                    <a:moveTo>
                      <a:pt x="763" y="7076"/>
                    </a:moveTo>
                    <a:lnTo>
                      <a:pt x="763" y="7076"/>
                    </a:lnTo>
                    <a:cubicBezTo>
                      <a:pt x="863" y="6690"/>
                      <a:pt x="830" y="6819"/>
                      <a:pt x="863" y="6690"/>
                    </a:cubicBezTo>
                    <a:cubicBezTo>
                      <a:pt x="864" y="6690"/>
                      <a:pt x="867" y="6690"/>
                      <a:pt x="868" y="6690"/>
                    </a:cubicBezTo>
                    <a:cubicBezTo>
                      <a:pt x="874" y="6690"/>
                      <a:pt x="880" y="6689"/>
                      <a:pt x="887" y="6687"/>
                    </a:cubicBezTo>
                    <a:cubicBezTo>
                      <a:pt x="1248" y="7477"/>
                      <a:pt x="1128" y="7214"/>
                      <a:pt x="1248" y="7477"/>
                    </a:cubicBezTo>
                    <a:cubicBezTo>
                      <a:pt x="1248" y="7478"/>
                      <a:pt x="1248" y="7478"/>
                      <a:pt x="1248" y="7478"/>
                    </a:cubicBezTo>
                    <a:cubicBezTo>
                      <a:pt x="796" y="7165"/>
                      <a:pt x="947" y="7270"/>
                      <a:pt x="796" y="7165"/>
                    </a:cubicBezTo>
                    <a:cubicBezTo>
                      <a:pt x="801" y="7157"/>
                      <a:pt x="804" y="7146"/>
                      <a:pt x="804" y="7135"/>
                    </a:cubicBezTo>
                    <a:cubicBezTo>
                      <a:pt x="804" y="7108"/>
                      <a:pt x="787" y="7086"/>
                      <a:pt x="763" y="7076"/>
                    </a:cubicBezTo>
                    <a:close/>
                    <a:moveTo>
                      <a:pt x="500" y="6549"/>
                    </a:moveTo>
                    <a:lnTo>
                      <a:pt x="500" y="6549"/>
                    </a:lnTo>
                    <a:cubicBezTo>
                      <a:pt x="498" y="6524"/>
                      <a:pt x="479" y="6504"/>
                      <a:pt x="455" y="6499"/>
                    </a:cubicBezTo>
                    <a:cubicBezTo>
                      <a:pt x="440" y="5240"/>
                      <a:pt x="445" y="5660"/>
                      <a:pt x="440" y="5240"/>
                    </a:cubicBezTo>
                    <a:cubicBezTo>
                      <a:pt x="835" y="6553"/>
                      <a:pt x="704" y="6116"/>
                      <a:pt x="835" y="6553"/>
                    </a:cubicBezTo>
                    <a:cubicBezTo>
                      <a:pt x="821" y="6560"/>
                      <a:pt x="810" y="6572"/>
                      <a:pt x="803" y="6585"/>
                    </a:cubicBezTo>
                    <a:cubicBezTo>
                      <a:pt x="702" y="6573"/>
                      <a:pt x="601" y="6561"/>
                      <a:pt x="500" y="6549"/>
                    </a:cubicBezTo>
                    <a:close/>
                    <a:moveTo>
                      <a:pt x="595" y="2599"/>
                    </a:moveTo>
                    <a:lnTo>
                      <a:pt x="595" y="2599"/>
                    </a:lnTo>
                    <a:cubicBezTo>
                      <a:pt x="593" y="2596"/>
                      <a:pt x="591" y="2593"/>
                      <a:pt x="589" y="2590"/>
                    </a:cubicBezTo>
                    <a:cubicBezTo>
                      <a:pt x="882" y="2090"/>
                      <a:pt x="785" y="2256"/>
                      <a:pt x="882" y="2090"/>
                    </a:cubicBezTo>
                    <a:cubicBezTo>
                      <a:pt x="883" y="2090"/>
                      <a:pt x="884" y="2090"/>
                      <a:pt x="885" y="2090"/>
                    </a:cubicBezTo>
                    <a:cubicBezTo>
                      <a:pt x="944" y="2481"/>
                      <a:pt x="925" y="2350"/>
                      <a:pt x="944" y="2481"/>
                    </a:cubicBezTo>
                    <a:cubicBezTo>
                      <a:pt x="913" y="2490"/>
                      <a:pt x="891" y="2518"/>
                      <a:pt x="889" y="2552"/>
                    </a:cubicBezTo>
                    <a:cubicBezTo>
                      <a:pt x="791" y="2567"/>
                      <a:pt x="693" y="2583"/>
                      <a:pt x="595" y="2599"/>
                    </a:cubicBezTo>
                    <a:close/>
                    <a:moveTo>
                      <a:pt x="1503" y="1403"/>
                    </a:moveTo>
                    <a:lnTo>
                      <a:pt x="1503" y="1403"/>
                    </a:lnTo>
                    <a:cubicBezTo>
                      <a:pt x="1511" y="1962"/>
                      <a:pt x="1509" y="1775"/>
                      <a:pt x="1511" y="1962"/>
                    </a:cubicBezTo>
                    <a:cubicBezTo>
                      <a:pt x="1498" y="1965"/>
                      <a:pt x="1487" y="1974"/>
                      <a:pt x="1481" y="1985"/>
                    </a:cubicBezTo>
                    <a:cubicBezTo>
                      <a:pt x="934" y="2022"/>
                      <a:pt x="1117" y="2009"/>
                      <a:pt x="934" y="2022"/>
                    </a:cubicBezTo>
                    <a:cubicBezTo>
                      <a:pt x="933" y="2022"/>
                      <a:pt x="933" y="2021"/>
                      <a:pt x="933" y="2020"/>
                    </a:cubicBezTo>
                    <a:cubicBezTo>
                      <a:pt x="1494" y="1397"/>
                      <a:pt x="1307" y="1604"/>
                      <a:pt x="1494" y="1397"/>
                    </a:cubicBezTo>
                    <a:cubicBezTo>
                      <a:pt x="1498" y="1399"/>
                      <a:pt x="1500" y="1401"/>
                      <a:pt x="1503" y="1403"/>
                    </a:cubicBezTo>
                    <a:close/>
                    <a:moveTo>
                      <a:pt x="2579" y="1042"/>
                    </a:moveTo>
                    <a:lnTo>
                      <a:pt x="2579" y="1042"/>
                    </a:lnTo>
                    <a:cubicBezTo>
                      <a:pt x="2581" y="1048"/>
                      <a:pt x="2583" y="1052"/>
                      <a:pt x="2585" y="1056"/>
                    </a:cubicBezTo>
                    <a:cubicBezTo>
                      <a:pt x="2106" y="1643"/>
                      <a:pt x="2266" y="1447"/>
                      <a:pt x="2106" y="1643"/>
                    </a:cubicBezTo>
                    <a:cubicBezTo>
                      <a:pt x="2098" y="1641"/>
                      <a:pt x="2089" y="1639"/>
                      <a:pt x="2079" y="1639"/>
                    </a:cubicBezTo>
                    <a:cubicBezTo>
                      <a:pt x="2059" y="1639"/>
                      <a:pt x="2041" y="1646"/>
                      <a:pt x="2028" y="1658"/>
                    </a:cubicBezTo>
                    <a:cubicBezTo>
                      <a:pt x="1569" y="1362"/>
                      <a:pt x="1722" y="1460"/>
                      <a:pt x="1569" y="1362"/>
                    </a:cubicBezTo>
                    <a:cubicBezTo>
                      <a:pt x="1569" y="1361"/>
                      <a:pt x="1570" y="1361"/>
                      <a:pt x="1570" y="1360"/>
                    </a:cubicBezTo>
                    <a:cubicBezTo>
                      <a:pt x="1570" y="1356"/>
                      <a:pt x="1568" y="1352"/>
                      <a:pt x="1567" y="1349"/>
                    </a:cubicBezTo>
                    <a:cubicBezTo>
                      <a:pt x="1905" y="1246"/>
                      <a:pt x="2242" y="1144"/>
                      <a:pt x="2579" y="1042"/>
                    </a:cubicBezTo>
                    <a:close/>
                    <a:moveTo>
                      <a:pt x="3748" y="150"/>
                    </a:moveTo>
                    <a:lnTo>
                      <a:pt x="3748" y="150"/>
                    </a:lnTo>
                    <a:cubicBezTo>
                      <a:pt x="3750" y="150"/>
                      <a:pt x="3750" y="152"/>
                      <a:pt x="3752" y="152"/>
                    </a:cubicBezTo>
                    <a:cubicBezTo>
                      <a:pt x="3642" y="664"/>
                      <a:pt x="3679" y="493"/>
                      <a:pt x="3642" y="664"/>
                    </a:cubicBezTo>
                    <a:cubicBezTo>
                      <a:pt x="3622" y="668"/>
                      <a:pt x="3606" y="683"/>
                      <a:pt x="3603" y="703"/>
                    </a:cubicBezTo>
                    <a:cubicBezTo>
                      <a:pt x="2721" y="967"/>
                      <a:pt x="3015" y="879"/>
                      <a:pt x="2721" y="967"/>
                    </a:cubicBezTo>
                    <a:cubicBezTo>
                      <a:pt x="3064" y="694"/>
                      <a:pt x="3406" y="422"/>
                      <a:pt x="3748" y="150"/>
                    </a:cubicBezTo>
                    <a:close/>
                    <a:moveTo>
                      <a:pt x="3814" y="132"/>
                    </a:moveTo>
                    <a:lnTo>
                      <a:pt x="3814" y="132"/>
                    </a:lnTo>
                    <a:cubicBezTo>
                      <a:pt x="4462" y="308"/>
                      <a:pt x="4246" y="249"/>
                      <a:pt x="4462" y="308"/>
                    </a:cubicBezTo>
                    <a:cubicBezTo>
                      <a:pt x="4462" y="311"/>
                      <a:pt x="4462" y="313"/>
                      <a:pt x="4462" y="316"/>
                    </a:cubicBezTo>
                    <a:cubicBezTo>
                      <a:pt x="4462" y="320"/>
                      <a:pt x="4462" y="324"/>
                      <a:pt x="4463" y="329"/>
                    </a:cubicBezTo>
                    <a:cubicBezTo>
                      <a:pt x="3679" y="675"/>
                      <a:pt x="3941" y="559"/>
                      <a:pt x="3679" y="675"/>
                    </a:cubicBezTo>
                    <a:cubicBezTo>
                      <a:pt x="3677" y="673"/>
                      <a:pt x="3675" y="672"/>
                      <a:pt x="3673" y="670"/>
                    </a:cubicBezTo>
                    <a:cubicBezTo>
                      <a:pt x="3783" y="156"/>
                      <a:pt x="3747" y="327"/>
                      <a:pt x="3783" y="156"/>
                    </a:cubicBezTo>
                    <a:cubicBezTo>
                      <a:pt x="3796" y="153"/>
                      <a:pt x="3807" y="145"/>
                      <a:pt x="3814" y="132"/>
                    </a:cubicBezTo>
                    <a:close/>
                    <a:moveTo>
                      <a:pt x="5642" y="135"/>
                    </a:moveTo>
                    <a:lnTo>
                      <a:pt x="5642" y="135"/>
                    </a:lnTo>
                    <a:cubicBezTo>
                      <a:pt x="5704" y="448"/>
                      <a:pt x="5684" y="343"/>
                      <a:pt x="5704" y="448"/>
                    </a:cubicBezTo>
                    <a:cubicBezTo>
                      <a:pt x="5695" y="454"/>
                      <a:pt x="5689" y="461"/>
                      <a:pt x="5684" y="470"/>
                    </a:cubicBezTo>
                    <a:cubicBezTo>
                      <a:pt x="4623" y="309"/>
                      <a:pt x="4977" y="362"/>
                      <a:pt x="4623" y="309"/>
                    </a:cubicBezTo>
                    <a:cubicBezTo>
                      <a:pt x="4623" y="308"/>
                      <a:pt x="4623" y="308"/>
                      <a:pt x="4623" y="308"/>
                    </a:cubicBezTo>
                    <a:cubicBezTo>
                      <a:pt x="5589" y="84"/>
                      <a:pt x="5267" y="158"/>
                      <a:pt x="5589" y="84"/>
                    </a:cubicBezTo>
                    <a:cubicBezTo>
                      <a:pt x="5595" y="110"/>
                      <a:pt x="5616" y="130"/>
                      <a:pt x="5642" y="135"/>
                    </a:cubicBezTo>
                    <a:close/>
                    <a:moveTo>
                      <a:pt x="6700" y="718"/>
                    </a:moveTo>
                    <a:lnTo>
                      <a:pt x="6700" y="718"/>
                    </a:lnTo>
                    <a:cubicBezTo>
                      <a:pt x="6702" y="754"/>
                      <a:pt x="6732" y="783"/>
                      <a:pt x="6768" y="783"/>
                    </a:cubicBezTo>
                    <a:cubicBezTo>
                      <a:pt x="6777" y="783"/>
                      <a:pt x="6786" y="781"/>
                      <a:pt x="6794" y="777"/>
                    </a:cubicBezTo>
                    <a:cubicBezTo>
                      <a:pt x="7444" y="1453"/>
                      <a:pt x="7227" y="1227"/>
                      <a:pt x="7444" y="1453"/>
                    </a:cubicBezTo>
                    <a:cubicBezTo>
                      <a:pt x="5824" y="529"/>
                      <a:pt x="6364" y="837"/>
                      <a:pt x="5824" y="529"/>
                    </a:cubicBezTo>
                    <a:cubicBezTo>
                      <a:pt x="6116" y="592"/>
                      <a:pt x="6408" y="655"/>
                      <a:pt x="6700" y="718"/>
                    </a:cubicBezTo>
                    <a:close/>
                    <a:moveTo>
                      <a:pt x="7445" y="1490"/>
                    </a:moveTo>
                    <a:lnTo>
                      <a:pt x="7445" y="1490"/>
                    </a:lnTo>
                    <a:cubicBezTo>
                      <a:pt x="7444" y="1492"/>
                      <a:pt x="7443" y="1495"/>
                      <a:pt x="7442" y="1497"/>
                    </a:cubicBezTo>
                    <a:cubicBezTo>
                      <a:pt x="6434" y="1519"/>
                      <a:pt x="6770" y="1511"/>
                      <a:pt x="6434" y="1519"/>
                    </a:cubicBezTo>
                    <a:cubicBezTo>
                      <a:pt x="6430" y="1492"/>
                      <a:pt x="6406" y="1471"/>
                      <a:pt x="6379" y="1471"/>
                    </a:cubicBezTo>
                    <a:cubicBezTo>
                      <a:pt x="6372" y="1471"/>
                      <a:pt x="6366" y="1473"/>
                      <a:pt x="6359" y="1475"/>
                    </a:cubicBezTo>
                    <a:cubicBezTo>
                      <a:pt x="5775" y="536"/>
                      <a:pt x="5970" y="849"/>
                      <a:pt x="5775" y="536"/>
                    </a:cubicBezTo>
                    <a:cubicBezTo>
                      <a:pt x="6332" y="854"/>
                      <a:pt x="6889" y="1172"/>
                      <a:pt x="7445" y="1490"/>
                    </a:cubicBezTo>
                    <a:close/>
                    <a:moveTo>
                      <a:pt x="7482" y="860"/>
                    </a:moveTo>
                    <a:lnTo>
                      <a:pt x="7482" y="860"/>
                    </a:lnTo>
                    <a:cubicBezTo>
                      <a:pt x="7502" y="860"/>
                      <a:pt x="7520" y="852"/>
                      <a:pt x="7535" y="840"/>
                    </a:cubicBezTo>
                    <a:cubicBezTo>
                      <a:pt x="8251" y="1425"/>
                      <a:pt x="8012" y="1230"/>
                      <a:pt x="8251" y="1425"/>
                    </a:cubicBezTo>
                    <a:cubicBezTo>
                      <a:pt x="8243" y="1438"/>
                      <a:pt x="8239" y="1453"/>
                      <a:pt x="8239" y="1469"/>
                    </a:cubicBezTo>
                    <a:cubicBezTo>
                      <a:pt x="8239" y="1510"/>
                      <a:pt x="8267" y="1544"/>
                      <a:pt x="8307" y="1553"/>
                    </a:cubicBezTo>
                    <a:cubicBezTo>
                      <a:pt x="8311" y="1995"/>
                      <a:pt x="8310" y="1847"/>
                      <a:pt x="8311" y="1995"/>
                    </a:cubicBezTo>
                    <a:cubicBezTo>
                      <a:pt x="8278" y="2000"/>
                      <a:pt x="8250" y="2013"/>
                      <a:pt x="8225" y="2032"/>
                    </a:cubicBezTo>
                    <a:cubicBezTo>
                      <a:pt x="7618" y="1568"/>
                      <a:pt x="7820" y="1722"/>
                      <a:pt x="7618" y="1568"/>
                    </a:cubicBezTo>
                    <a:cubicBezTo>
                      <a:pt x="7625" y="1555"/>
                      <a:pt x="7630" y="1540"/>
                      <a:pt x="7630" y="1524"/>
                    </a:cubicBezTo>
                    <a:cubicBezTo>
                      <a:pt x="7630" y="1473"/>
                      <a:pt x="7588" y="1431"/>
                      <a:pt x="7537" y="1429"/>
                    </a:cubicBezTo>
                    <a:cubicBezTo>
                      <a:pt x="7482" y="860"/>
                      <a:pt x="7500" y="1049"/>
                      <a:pt x="7482" y="860"/>
                    </a:cubicBezTo>
                    <a:close/>
                    <a:moveTo>
                      <a:pt x="9399" y="3649"/>
                    </a:moveTo>
                    <a:lnTo>
                      <a:pt x="9399" y="3649"/>
                    </a:lnTo>
                    <a:cubicBezTo>
                      <a:pt x="9307" y="4058"/>
                      <a:pt x="9338" y="3921"/>
                      <a:pt x="9307" y="4058"/>
                    </a:cubicBezTo>
                    <a:cubicBezTo>
                      <a:pt x="9149" y="3172"/>
                      <a:pt x="9202" y="3467"/>
                      <a:pt x="9149" y="3172"/>
                    </a:cubicBezTo>
                    <a:cubicBezTo>
                      <a:pt x="9388" y="3575"/>
                      <a:pt x="9308" y="3440"/>
                      <a:pt x="9388" y="3575"/>
                    </a:cubicBezTo>
                    <a:cubicBezTo>
                      <a:pt x="9379" y="3584"/>
                      <a:pt x="9374" y="3595"/>
                      <a:pt x="9374" y="3608"/>
                    </a:cubicBezTo>
                    <a:cubicBezTo>
                      <a:pt x="9374" y="3626"/>
                      <a:pt x="9384" y="3642"/>
                      <a:pt x="9399" y="3649"/>
                    </a:cubicBezTo>
                    <a:close/>
                    <a:moveTo>
                      <a:pt x="4945" y="9129"/>
                    </a:moveTo>
                    <a:lnTo>
                      <a:pt x="4945" y="9129"/>
                    </a:lnTo>
                    <a:cubicBezTo>
                      <a:pt x="4937" y="9102"/>
                      <a:pt x="4918" y="9080"/>
                      <a:pt x="4893" y="9069"/>
                    </a:cubicBezTo>
                    <a:cubicBezTo>
                      <a:pt x="5056" y="8181"/>
                      <a:pt x="5002" y="8477"/>
                      <a:pt x="5056" y="8181"/>
                    </a:cubicBezTo>
                    <a:cubicBezTo>
                      <a:pt x="5058" y="8181"/>
                      <a:pt x="5061" y="8182"/>
                      <a:pt x="5064" y="8182"/>
                    </a:cubicBezTo>
                    <a:cubicBezTo>
                      <a:pt x="5099" y="8182"/>
                      <a:pt x="5131" y="8167"/>
                      <a:pt x="5153" y="8143"/>
                    </a:cubicBezTo>
                    <a:cubicBezTo>
                      <a:pt x="6095" y="8825"/>
                      <a:pt x="5781" y="8598"/>
                      <a:pt x="6095" y="8825"/>
                    </a:cubicBezTo>
                    <a:cubicBezTo>
                      <a:pt x="6092" y="8836"/>
                      <a:pt x="6089" y="8847"/>
                      <a:pt x="6089" y="8859"/>
                    </a:cubicBezTo>
                    <a:cubicBezTo>
                      <a:pt x="6089" y="8864"/>
                      <a:pt x="6090" y="8868"/>
                      <a:pt x="6090" y="8873"/>
                    </a:cubicBezTo>
                    <a:cubicBezTo>
                      <a:pt x="5709" y="8958"/>
                      <a:pt x="5327" y="9044"/>
                      <a:pt x="4945" y="9129"/>
                    </a:cubicBezTo>
                    <a:close/>
                    <a:moveTo>
                      <a:pt x="4851" y="9058"/>
                    </a:moveTo>
                    <a:lnTo>
                      <a:pt x="4851" y="9058"/>
                    </a:lnTo>
                    <a:cubicBezTo>
                      <a:pt x="4820" y="9058"/>
                      <a:pt x="4793" y="9073"/>
                      <a:pt x="4775" y="9095"/>
                    </a:cubicBezTo>
                    <a:cubicBezTo>
                      <a:pt x="3371" y="8260"/>
                      <a:pt x="3839" y="8539"/>
                      <a:pt x="3371" y="8260"/>
                    </a:cubicBezTo>
                    <a:cubicBezTo>
                      <a:pt x="3372" y="8255"/>
                      <a:pt x="3374" y="8249"/>
                      <a:pt x="3374" y="8243"/>
                    </a:cubicBezTo>
                    <a:cubicBezTo>
                      <a:pt x="4946" y="8092"/>
                      <a:pt x="4422" y="8143"/>
                      <a:pt x="4946" y="8092"/>
                    </a:cubicBezTo>
                    <a:cubicBezTo>
                      <a:pt x="4957" y="8131"/>
                      <a:pt x="4987" y="8162"/>
                      <a:pt x="5025" y="8175"/>
                    </a:cubicBezTo>
                    <a:cubicBezTo>
                      <a:pt x="4863" y="9060"/>
                      <a:pt x="4917" y="8765"/>
                      <a:pt x="4863" y="9060"/>
                    </a:cubicBezTo>
                    <a:cubicBezTo>
                      <a:pt x="4859" y="9059"/>
                      <a:pt x="4855" y="9058"/>
                      <a:pt x="4851" y="9058"/>
                    </a:cubicBezTo>
                    <a:close/>
                    <a:moveTo>
                      <a:pt x="1656" y="6675"/>
                    </a:moveTo>
                    <a:lnTo>
                      <a:pt x="1656" y="6675"/>
                    </a:lnTo>
                    <a:cubicBezTo>
                      <a:pt x="938" y="6601"/>
                      <a:pt x="1178" y="6626"/>
                      <a:pt x="938" y="6601"/>
                    </a:cubicBezTo>
                    <a:cubicBezTo>
                      <a:pt x="933" y="6579"/>
                      <a:pt x="919" y="6562"/>
                      <a:pt x="900" y="6552"/>
                    </a:cubicBezTo>
                    <a:cubicBezTo>
                      <a:pt x="1293" y="5128"/>
                      <a:pt x="1162" y="5603"/>
                      <a:pt x="1293" y="5128"/>
                    </a:cubicBezTo>
                    <a:cubicBezTo>
                      <a:pt x="1294" y="5129"/>
                      <a:pt x="1295" y="5129"/>
                      <a:pt x="1296" y="5129"/>
                    </a:cubicBezTo>
                    <a:cubicBezTo>
                      <a:pt x="1297" y="5129"/>
                      <a:pt x="1296" y="5129"/>
                      <a:pt x="1297" y="5129"/>
                    </a:cubicBezTo>
                    <a:cubicBezTo>
                      <a:pt x="1672" y="6656"/>
                      <a:pt x="1547" y="6147"/>
                      <a:pt x="1672" y="6656"/>
                    </a:cubicBezTo>
                    <a:cubicBezTo>
                      <a:pt x="1665" y="6660"/>
                      <a:pt x="1661" y="6667"/>
                      <a:pt x="1656" y="6675"/>
                    </a:cubicBezTo>
                    <a:close/>
                    <a:moveTo>
                      <a:pt x="448" y="5072"/>
                    </a:moveTo>
                    <a:lnTo>
                      <a:pt x="448" y="5072"/>
                    </a:lnTo>
                    <a:cubicBezTo>
                      <a:pt x="446" y="5072"/>
                      <a:pt x="445" y="5072"/>
                      <a:pt x="444" y="5072"/>
                    </a:cubicBezTo>
                    <a:cubicBezTo>
                      <a:pt x="569" y="3697"/>
                      <a:pt x="528" y="4155"/>
                      <a:pt x="569" y="3697"/>
                    </a:cubicBezTo>
                    <a:cubicBezTo>
                      <a:pt x="849" y="4493"/>
                      <a:pt x="756" y="4228"/>
                      <a:pt x="849" y="4493"/>
                    </a:cubicBezTo>
                    <a:cubicBezTo>
                      <a:pt x="832" y="4507"/>
                      <a:pt x="821" y="4527"/>
                      <a:pt x="821" y="4551"/>
                    </a:cubicBezTo>
                    <a:cubicBezTo>
                      <a:pt x="821" y="4565"/>
                      <a:pt x="825" y="4578"/>
                      <a:pt x="831" y="4589"/>
                    </a:cubicBezTo>
                    <a:cubicBezTo>
                      <a:pt x="704" y="4750"/>
                      <a:pt x="576" y="4911"/>
                      <a:pt x="448" y="5072"/>
                    </a:cubicBezTo>
                    <a:close/>
                    <a:moveTo>
                      <a:pt x="2607" y="1080"/>
                    </a:moveTo>
                    <a:lnTo>
                      <a:pt x="2607" y="1080"/>
                    </a:lnTo>
                    <a:cubicBezTo>
                      <a:pt x="2620" y="1089"/>
                      <a:pt x="2635" y="1095"/>
                      <a:pt x="2652" y="1095"/>
                    </a:cubicBezTo>
                    <a:cubicBezTo>
                      <a:pt x="2656" y="1095"/>
                      <a:pt x="2659" y="1094"/>
                      <a:pt x="2662" y="1094"/>
                    </a:cubicBezTo>
                    <a:cubicBezTo>
                      <a:pt x="2916" y="1824"/>
                      <a:pt x="2832" y="1580"/>
                      <a:pt x="2916" y="1824"/>
                    </a:cubicBezTo>
                    <a:cubicBezTo>
                      <a:pt x="2155" y="1704"/>
                      <a:pt x="2409" y="1744"/>
                      <a:pt x="2155" y="1704"/>
                    </a:cubicBezTo>
                    <a:cubicBezTo>
                      <a:pt x="2152" y="1687"/>
                      <a:pt x="2144" y="1672"/>
                      <a:pt x="2133" y="1661"/>
                    </a:cubicBezTo>
                    <a:cubicBezTo>
                      <a:pt x="2291" y="1467"/>
                      <a:pt x="2449" y="1273"/>
                      <a:pt x="2607" y="1080"/>
                    </a:cubicBezTo>
                    <a:close/>
                    <a:moveTo>
                      <a:pt x="3637" y="754"/>
                    </a:moveTo>
                    <a:lnTo>
                      <a:pt x="3637" y="754"/>
                    </a:lnTo>
                    <a:cubicBezTo>
                      <a:pt x="3641" y="756"/>
                      <a:pt x="3645" y="757"/>
                      <a:pt x="3649" y="757"/>
                    </a:cubicBezTo>
                    <a:cubicBezTo>
                      <a:pt x="3654" y="757"/>
                      <a:pt x="3659" y="756"/>
                      <a:pt x="3664" y="754"/>
                    </a:cubicBezTo>
                    <a:cubicBezTo>
                      <a:pt x="4052" y="1303"/>
                      <a:pt x="3923" y="1120"/>
                      <a:pt x="4052" y="1303"/>
                    </a:cubicBezTo>
                    <a:cubicBezTo>
                      <a:pt x="4043" y="1315"/>
                      <a:pt x="4039" y="1328"/>
                      <a:pt x="4039" y="1343"/>
                    </a:cubicBezTo>
                    <a:cubicBezTo>
                      <a:pt x="4039" y="1348"/>
                      <a:pt x="4039" y="1352"/>
                      <a:pt x="4040" y="1357"/>
                    </a:cubicBezTo>
                    <a:cubicBezTo>
                      <a:pt x="2978" y="1810"/>
                      <a:pt x="3332" y="1659"/>
                      <a:pt x="2978" y="1810"/>
                    </a:cubicBezTo>
                    <a:cubicBezTo>
                      <a:pt x="3198" y="1458"/>
                      <a:pt x="3418" y="1106"/>
                      <a:pt x="3637" y="754"/>
                    </a:cubicBezTo>
                    <a:close/>
                    <a:moveTo>
                      <a:pt x="5689" y="511"/>
                    </a:moveTo>
                    <a:lnTo>
                      <a:pt x="5689" y="511"/>
                    </a:lnTo>
                    <a:cubicBezTo>
                      <a:pt x="5690" y="514"/>
                      <a:pt x="5691" y="516"/>
                      <a:pt x="5693" y="517"/>
                    </a:cubicBezTo>
                    <a:cubicBezTo>
                      <a:pt x="5422" y="927"/>
                      <a:pt x="5513" y="790"/>
                      <a:pt x="5422" y="927"/>
                    </a:cubicBezTo>
                    <a:cubicBezTo>
                      <a:pt x="5417" y="925"/>
                      <a:pt x="5413" y="924"/>
                      <a:pt x="5407" y="924"/>
                    </a:cubicBezTo>
                    <a:cubicBezTo>
                      <a:pt x="5389" y="924"/>
                      <a:pt x="5375" y="934"/>
                      <a:pt x="5367" y="949"/>
                    </a:cubicBezTo>
                    <a:cubicBezTo>
                      <a:pt x="3771" y="709"/>
                      <a:pt x="4303" y="789"/>
                      <a:pt x="3771" y="709"/>
                    </a:cubicBezTo>
                    <a:cubicBezTo>
                      <a:pt x="4411" y="643"/>
                      <a:pt x="5050" y="577"/>
                      <a:pt x="5689" y="511"/>
                    </a:cubicBezTo>
                    <a:close/>
                    <a:moveTo>
                      <a:pt x="6379" y="1583"/>
                    </a:moveTo>
                    <a:lnTo>
                      <a:pt x="6379" y="1583"/>
                    </a:lnTo>
                    <a:cubicBezTo>
                      <a:pt x="6392" y="1583"/>
                      <a:pt x="6405" y="1577"/>
                      <a:pt x="6414" y="1569"/>
                    </a:cubicBezTo>
                    <a:cubicBezTo>
                      <a:pt x="7499" y="2068"/>
                      <a:pt x="7137" y="1901"/>
                      <a:pt x="7499" y="2068"/>
                    </a:cubicBezTo>
                    <a:cubicBezTo>
                      <a:pt x="7499" y="2070"/>
                      <a:pt x="7498" y="2071"/>
                      <a:pt x="7498" y="2073"/>
                    </a:cubicBezTo>
                    <a:cubicBezTo>
                      <a:pt x="5958" y="2486"/>
                      <a:pt x="6472" y="2348"/>
                      <a:pt x="5958" y="2486"/>
                    </a:cubicBezTo>
                    <a:cubicBezTo>
                      <a:pt x="5952" y="2477"/>
                      <a:pt x="5945" y="2468"/>
                      <a:pt x="5937" y="2462"/>
                    </a:cubicBezTo>
                    <a:cubicBezTo>
                      <a:pt x="6373" y="1582"/>
                      <a:pt x="6228" y="1875"/>
                      <a:pt x="6373" y="1582"/>
                    </a:cubicBezTo>
                    <a:cubicBezTo>
                      <a:pt x="6375" y="1582"/>
                      <a:pt x="6377" y="1583"/>
                      <a:pt x="6379" y="1583"/>
                    </a:cubicBezTo>
                    <a:close/>
                    <a:moveTo>
                      <a:pt x="7599" y="1593"/>
                    </a:moveTo>
                    <a:lnTo>
                      <a:pt x="7599" y="1593"/>
                    </a:lnTo>
                    <a:cubicBezTo>
                      <a:pt x="8201" y="2054"/>
                      <a:pt x="8000" y="1900"/>
                      <a:pt x="8201" y="2054"/>
                    </a:cubicBezTo>
                    <a:cubicBezTo>
                      <a:pt x="8171" y="2087"/>
                      <a:pt x="8153" y="2131"/>
                      <a:pt x="8153" y="2179"/>
                    </a:cubicBezTo>
                    <a:cubicBezTo>
                      <a:pt x="8153" y="2230"/>
                      <a:pt x="8173" y="2276"/>
                      <a:pt x="8206" y="2310"/>
                    </a:cubicBezTo>
                    <a:cubicBezTo>
                      <a:pt x="7902" y="2757"/>
                      <a:pt x="8003" y="2608"/>
                      <a:pt x="7902" y="2757"/>
                    </a:cubicBezTo>
                    <a:cubicBezTo>
                      <a:pt x="7896" y="2755"/>
                      <a:pt x="7890" y="2754"/>
                      <a:pt x="7884" y="2754"/>
                    </a:cubicBezTo>
                    <a:cubicBezTo>
                      <a:pt x="7874" y="2754"/>
                      <a:pt x="7865" y="2755"/>
                      <a:pt x="7857" y="2759"/>
                    </a:cubicBezTo>
                    <a:cubicBezTo>
                      <a:pt x="7579" y="2100"/>
                      <a:pt x="7672" y="2319"/>
                      <a:pt x="7579" y="2100"/>
                    </a:cubicBezTo>
                    <a:cubicBezTo>
                      <a:pt x="7583" y="2093"/>
                      <a:pt x="7588" y="2084"/>
                      <a:pt x="7588" y="2075"/>
                    </a:cubicBezTo>
                    <a:cubicBezTo>
                      <a:pt x="7588" y="2058"/>
                      <a:pt x="7578" y="2045"/>
                      <a:pt x="7565" y="2037"/>
                    </a:cubicBezTo>
                    <a:cubicBezTo>
                      <a:pt x="7549" y="1618"/>
                      <a:pt x="7554" y="1757"/>
                      <a:pt x="7549" y="1618"/>
                    </a:cubicBezTo>
                    <a:cubicBezTo>
                      <a:pt x="7568" y="1615"/>
                      <a:pt x="7586" y="1606"/>
                      <a:pt x="7599" y="1593"/>
                    </a:cubicBezTo>
                    <a:close/>
                    <a:moveTo>
                      <a:pt x="8720" y="4007"/>
                    </a:moveTo>
                    <a:lnTo>
                      <a:pt x="8720" y="4007"/>
                    </a:lnTo>
                    <a:cubicBezTo>
                      <a:pt x="8781" y="6140"/>
                      <a:pt x="8761" y="5429"/>
                      <a:pt x="8781" y="6140"/>
                    </a:cubicBezTo>
                    <a:cubicBezTo>
                      <a:pt x="8395" y="5216"/>
                      <a:pt x="8524" y="5524"/>
                      <a:pt x="8395" y="5216"/>
                    </a:cubicBezTo>
                    <a:cubicBezTo>
                      <a:pt x="8424" y="5196"/>
                      <a:pt x="8442" y="5162"/>
                      <a:pt x="8442" y="5124"/>
                    </a:cubicBezTo>
                    <a:cubicBezTo>
                      <a:pt x="8442" y="5082"/>
                      <a:pt x="8419" y="5046"/>
                      <a:pt x="8384" y="5026"/>
                    </a:cubicBezTo>
                    <a:cubicBezTo>
                      <a:pt x="8702" y="4005"/>
                      <a:pt x="8596" y="4345"/>
                      <a:pt x="8702" y="4005"/>
                    </a:cubicBezTo>
                    <a:cubicBezTo>
                      <a:pt x="8708" y="4006"/>
                      <a:pt x="8714" y="4007"/>
                      <a:pt x="8720" y="4007"/>
                    </a:cubicBezTo>
                    <a:close/>
                    <a:moveTo>
                      <a:pt x="4976" y="7975"/>
                    </a:moveTo>
                    <a:lnTo>
                      <a:pt x="4976" y="7975"/>
                    </a:lnTo>
                    <a:cubicBezTo>
                      <a:pt x="3254" y="6683"/>
                      <a:pt x="3828" y="7114"/>
                      <a:pt x="3254" y="6683"/>
                    </a:cubicBezTo>
                    <a:cubicBezTo>
                      <a:pt x="3264" y="6666"/>
                      <a:pt x="3269" y="6647"/>
                      <a:pt x="3269" y="6626"/>
                    </a:cubicBezTo>
                    <a:cubicBezTo>
                      <a:pt x="3269" y="6608"/>
                      <a:pt x="3265" y="6592"/>
                      <a:pt x="3258" y="6576"/>
                    </a:cubicBezTo>
                    <a:cubicBezTo>
                      <a:pt x="4793" y="5578"/>
                      <a:pt x="4282" y="5911"/>
                      <a:pt x="4793" y="5578"/>
                    </a:cubicBezTo>
                    <a:cubicBezTo>
                      <a:pt x="4815" y="5607"/>
                      <a:pt x="4850" y="5626"/>
                      <a:pt x="4890" y="5626"/>
                    </a:cubicBezTo>
                    <a:cubicBezTo>
                      <a:pt x="5038" y="7940"/>
                      <a:pt x="4989" y="7169"/>
                      <a:pt x="5038" y="7940"/>
                    </a:cubicBezTo>
                    <a:cubicBezTo>
                      <a:pt x="5014" y="7946"/>
                      <a:pt x="4993" y="7957"/>
                      <a:pt x="4976" y="7975"/>
                    </a:cubicBezTo>
                    <a:close/>
                    <a:moveTo>
                      <a:pt x="3037" y="6616"/>
                    </a:moveTo>
                    <a:lnTo>
                      <a:pt x="3037" y="6616"/>
                    </a:lnTo>
                    <a:cubicBezTo>
                      <a:pt x="1757" y="6676"/>
                      <a:pt x="2184" y="6656"/>
                      <a:pt x="1757" y="6676"/>
                    </a:cubicBezTo>
                    <a:cubicBezTo>
                      <a:pt x="1754" y="6670"/>
                      <a:pt x="1751" y="6664"/>
                      <a:pt x="1746" y="6659"/>
                    </a:cubicBezTo>
                    <a:cubicBezTo>
                      <a:pt x="2963" y="5117"/>
                      <a:pt x="2558" y="5631"/>
                      <a:pt x="2963" y="5117"/>
                    </a:cubicBezTo>
                    <a:cubicBezTo>
                      <a:pt x="2972" y="5123"/>
                      <a:pt x="2982" y="5126"/>
                      <a:pt x="2994" y="5127"/>
                    </a:cubicBezTo>
                    <a:cubicBezTo>
                      <a:pt x="3126" y="6512"/>
                      <a:pt x="3082" y="6051"/>
                      <a:pt x="3126" y="6512"/>
                    </a:cubicBezTo>
                    <a:cubicBezTo>
                      <a:pt x="3077" y="6524"/>
                      <a:pt x="3042" y="6565"/>
                      <a:pt x="3037" y="6616"/>
                    </a:cubicBezTo>
                    <a:close/>
                    <a:moveTo>
                      <a:pt x="1256" y="4986"/>
                    </a:moveTo>
                    <a:lnTo>
                      <a:pt x="1256" y="4986"/>
                    </a:lnTo>
                    <a:cubicBezTo>
                      <a:pt x="947" y="4600"/>
                      <a:pt x="1050" y="4729"/>
                      <a:pt x="947" y="4600"/>
                    </a:cubicBezTo>
                    <a:cubicBezTo>
                      <a:pt x="959" y="4587"/>
                      <a:pt x="966" y="4570"/>
                      <a:pt x="966" y="4551"/>
                    </a:cubicBezTo>
                    <a:cubicBezTo>
                      <a:pt x="966" y="4521"/>
                      <a:pt x="947" y="4494"/>
                      <a:pt x="920" y="4483"/>
                    </a:cubicBezTo>
                    <a:cubicBezTo>
                      <a:pt x="1272" y="3285"/>
                      <a:pt x="1155" y="3684"/>
                      <a:pt x="1272" y="3285"/>
                    </a:cubicBezTo>
                    <a:cubicBezTo>
                      <a:pt x="1279" y="4976"/>
                      <a:pt x="1277" y="4412"/>
                      <a:pt x="1279" y="4976"/>
                    </a:cubicBezTo>
                    <a:cubicBezTo>
                      <a:pt x="1271" y="4978"/>
                      <a:pt x="1264" y="4982"/>
                      <a:pt x="1256" y="4986"/>
                    </a:cubicBezTo>
                    <a:close/>
                    <a:moveTo>
                      <a:pt x="878" y="4480"/>
                    </a:moveTo>
                    <a:lnTo>
                      <a:pt x="878" y="4480"/>
                    </a:lnTo>
                    <a:cubicBezTo>
                      <a:pt x="589" y="3659"/>
                      <a:pt x="686" y="3933"/>
                      <a:pt x="589" y="3659"/>
                    </a:cubicBezTo>
                    <a:cubicBezTo>
                      <a:pt x="606" y="3652"/>
                      <a:pt x="620" y="3635"/>
                      <a:pt x="620" y="3615"/>
                    </a:cubicBezTo>
                    <a:cubicBezTo>
                      <a:pt x="620" y="3612"/>
                      <a:pt x="618" y="3609"/>
                      <a:pt x="618" y="3606"/>
                    </a:cubicBezTo>
                    <a:cubicBezTo>
                      <a:pt x="1245" y="3222"/>
                      <a:pt x="1036" y="3350"/>
                      <a:pt x="1245" y="3222"/>
                    </a:cubicBezTo>
                    <a:cubicBezTo>
                      <a:pt x="1248" y="3226"/>
                      <a:pt x="1252" y="3229"/>
                      <a:pt x="1255" y="3231"/>
                    </a:cubicBezTo>
                    <a:cubicBezTo>
                      <a:pt x="889" y="4479"/>
                      <a:pt x="1011" y="4063"/>
                      <a:pt x="889" y="4479"/>
                    </a:cubicBezTo>
                    <a:cubicBezTo>
                      <a:pt x="885" y="4479"/>
                      <a:pt x="882" y="4479"/>
                      <a:pt x="878" y="4480"/>
                    </a:cubicBezTo>
                    <a:close/>
                    <a:moveTo>
                      <a:pt x="2049" y="1786"/>
                    </a:moveTo>
                    <a:lnTo>
                      <a:pt x="2049" y="1786"/>
                    </a:lnTo>
                    <a:cubicBezTo>
                      <a:pt x="2058" y="1790"/>
                      <a:pt x="2066" y="1791"/>
                      <a:pt x="2076" y="1792"/>
                    </a:cubicBezTo>
                    <a:cubicBezTo>
                      <a:pt x="2313" y="2995"/>
                      <a:pt x="2234" y="2594"/>
                      <a:pt x="2313" y="2995"/>
                    </a:cubicBezTo>
                    <a:cubicBezTo>
                      <a:pt x="1350" y="3152"/>
                      <a:pt x="1671" y="3099"/>
                      <a:pt x="1350" y="3152"/>
                    </a:cubicBezTo>
                    <a:cubicBezTo>
                      <a:pt x="1345" y="3143"/>
                      <a:pt x="1339" y="3135"/>
                      <a:pt x="1332" y="3129"/>
                    </a:cubicBezTo>
                    <a:cubicBezTo>
                      <a:pt x="1571" y="2681"/>
                      <a:pt x="1810" y="2233"/>
                      <a:pt x="2049" y="1786"/>
                    </a:cubicBezTo>
                    <a:close/>
                    <a:moveTo>
                      <a:pt x="2153" y="1735"/>
                    </a:moveTo>
                    <a:lnTo>
                      <a:pt x="2153" y="1735"/>
                    </a:lnTo>
                    <a:cubicBezTo>
                      <a:pt x="2915" y="1856"/>
                      <a:pt x="2661" y="1815"/>
                      <a:pt x="2915" y="1856"/>
                    </a:cubicBezTo>
                    <a:cubicBezTo>
                      <a:pt x="2338" y="2961"/>
                      <a:pt x="2531" y="2592"/>
                      <a:pt x="2338" y="2961"/>
                    </a:cubicBezTo>
                    <a:cubicBezTo>
                      <a:pt x="2106" y="1787"/>
                      <a:pt x="2184" y="2178"/>
                      <a:pt x="2106" y="1787"/>
                    </a:cubicBezTo>
                    <a:cubicBezTo>
                      <a:pt x="2129" y="1778"/>
                      <a:pt x="2146" y="1759"/>
                      <a:pt x="2153" y="1735"/>
                    </a:cubicBezTo>
                    <a:close/>
                    <a:moveTo>
                      <a:pt x="4065" y="2825"/>
                    </a:moveTo>
                    <a:lnTo>
                      <a:pt x="4065" y="2825"/>
                    </a:lnTo>
                    <a:cubicBezTo>
                      <a:pt x="4068" y="2834"/>
                      <a:pt x="4074" y="2843"/>
                      <a:pt x="4081" y="2850"/>
                    </a:cubicBezTo>
                    <a:cubicBezTo>
                      <a:pt x="3521" y="3765"/>
                      <a:pt x="3708" y="3460"/>
                      <a:pt x="3521" y="3765"/>
                    </a:cubicBezTo>
                    <a:cubicBezTo>
                      <a:pt x="3513" y="3763"/>
                      <a:pt x="3504" y="3761"/>
                      <a:pt x="3495" y="3761"/>
                    </a:cubicBezTo>
                    <a:cubicBezTo>
                      <a:pt x="3475" y="3761"/>
                      <a:pt x="3456" y="3769"/>
                      <a:pt x="3443" y="3782"/>
                    </a:cubicBezTo>
                    <a:cubicBezTo>
                      <a:pt x="2373" y="3018"/>
                      <a:pt x="2730" y="3272"/>
                      <a:pt x="2373" y="3018"/>
                    </a:cubicBezTo>
                    <a:cubicBezTo>
                      <a:pt x="2937" y="2953"/>
                      <a:pt x="3501" y="2889"/>
                      <a:pt x="4065" y="2825"/>
                    </a:cubicBezTo>
                    <a:close/>
                    <a:moveTo>
                      <a:pt x="5371" y="999"/>
                    </a:moveTo>
                    <a:lnTo>
                      <a:pt x="5371" y="999"/>
                    </a:lnTo>
                    <a:cubicBezTo>
                      <a:pt x="5379" y="1010"/>
                      <a:pt x="5392" y="1018"/>
                      <a:pt x="5407" y="1018"/>
                    </a:cubicBezTo>
                    <a:cubicBezTo>
                      <a:pt x="5408" y="1018"/>
                      <a:pt x="5409" y="1017"/>
                      <a:pt x="5410" y="1017"/>
                    </a:cubicBezTo>
                    <a:cubicBezTo>
                      <a:pt x="5854" y="2455"/>
                      <a:pt x="5706" y="1975"/>
                      <a:pt x="5854" y="2455"/>
                    </a:cubicBezTo>
                    <a:cubicBezTo>
                      <a:pt x="5848" y="2457"/>
                      <a:pt x="5843" y="2461"/>
                      <a:pt x="5837" y="2466"/>
                    </a:cubicBezTo>
                    <a:cubicBezTo>
                      <a:pt x="4162" y="1367"/>
                      <a:pt x="4721" y="1733"/>
                      <a:pt x="4162" y="1367"/>
                    </a:cubicBezTo>
                    <a:cubicBezTo>
                      <a:pt x="4164" y="1361"/>
                      <a:pt x="4166" y="1353"/>
                      <a:pt x="4167" y="1345"/>
                    </a:cubicBezTo>
                    <a:cubicBezTo>
                      <a:pt x="4569" y="1229"/>
                      <a:pt x="4970" y="1114"/>
                      <a:pt x="5371" y="999"/>
                    </a:cubicBezTo>
                    <a:close/>
                    <a:moveTo>
                      <a:pt x="7817" y="2838"/>
                    </a:moveTo>
                    <a:lnTo>
                      <a:pt x="7817" y="2838"/>
                    </a:lnTo>
                    <a:cubicBezTo>
                      <a:pt x="7822" y="2856"/>
                      <a:pt x="7833" y="2871"/>
                      <a:pt x="7848" y="2881"/>
                    </a:cubicBezTo>
                    <a:cubicBezTo>
                      <a:pt x="7677" y="4159"/>
                      <a:pt x="7734" y="3733"/>
                      <a:pt x="7677" y="4159"/>
                    </a:cubicBezTo>
                    <a:cubicBezTo>
                      <a:pt x="7656" y="4160"/>
                      <a:pt x="7638" y="4168"/>
                      <a:pt x="7623" y="4180"/>
                    </a:cubicBezTo>
                    <a:cubicBezTo>
                      <a:pt x="5958" y="2563"/>
                      <a:pt x="6513" y="3102"/>
                      <a:pt x="5958" y="2563"/>
                    </a:cubicBezTo>
                    <a:cubicBezTo>
                      <a:pt x="5960" y="2558"/>
                      <a:pt x="5962" y="2552"/>
                      <a:pt x="5964" y="2547"/>
                    </a:cubicBezTo>
                    <a:cubicBezTo>
                      <a:pt x="6582" y="2644"/>
                      <a:pt x="7199" y="2741"/>
                      <a:pt x="7817" y="2838"/>
                    </a:cubicBezTo>
                    <a:close/>
                    <a:moveTo>
                      <a:pt x="7884" y="2891"/>
                    </a:moveTo>
                    <a:lnTo>
                      <a:pt x="7884" y="2891"/>
                    </a:lnTo>
                    <a:cubicBezTo>
                      <a:pt x="7888" y="2891"/>
                      <a:pt x="7894" y="2890"/>
                      <a:pt x="7899" y="2889"/>
                    </a:cubicBezTo>
                    <a:cubicBezTo>
                      <a:pt x="8618" y="3744"/>
                      <a:pt x="8378" y="3459"/>
                      <a:pt x="8618" y="3744"/>
                    </a:cubicBezTo>
                    <a:cubicBezTo>
                      <a:pt x="8589" y="3772"/>
                      <a:pt x="8571" y="3811"/>
                      <a:pt x="8571" y="3855"/>
                    </a:cubicBezTo>
                    <a:cubicBezTo>
                      <a:pt x="8571" y="3869"/>
                      <a:pt x="8574" y="3884"/>
                      <a:pt x="8577" y="3897"/>
                    </a:cubicBezTo>
                    <a:cubicBezTo>
                      <a:pt x="7768" y="4206"/>
                      <a:pt x="8038" y="4103"/>
                      <a:pt x="7768" y="4206"/>
                    </a:cubicBezTo>
                    <a:cubicBezTo>
                      <a:pt x="7755" y="4184"/>
                      <a:pt x="7733" y="4169"/>
                      <a:pt x="7708" y="4162"/>
                    </a:cubicBezTo>
                    <a:cubicBezTo>
                      <a:pt x="7878" y="2890"/>
                      <a:pt x="7821" y="3314"/>
                      <a:pt x="7878" y="2890"/>
                    </a:cubicBezTo>
                    <a:cubicBezTo>
                      <a:pt x="7880" y="2890"/>
                      <a:pt x="7881" y="2891"/>
                      <a:pt x="7884" y="2891"/>
                    </a:cubicBezTo>
                    <a:close/>
                    <a:moveTo>
                      <a:pt x="8671" y="3997"/>
                    </a:moveTo>
                    <a:lnTo>
                      <a:pt x="8671" y="3997"/>
                    </a:lnTo>
                    <a:cubicBezTo>
                      <a:pt x="8355" y="5015"/>
                      <a:pt x="8460" y="4676"/>
                      <a:pt x="8355" y="5015"/>
                    </a:cubicBezTo>
                    <a:cubicBezTo>
                      <a:pt x="8347" y="5013"/>
                      <a:pt x="8338" y="5012"/>
                      <a:pt x="8329" y="5012"/>
                    </a:cubicBezTo>
                    <a:cubicBezTo>
                      <a:pt x="8313" y="5012"/>
                      <a:pt x="8297" y="5015"/>
                      <a:pt x="8283" y="5022"/>
                    </a:cubicBezTo>
                    <a:cubicBezTo>
                      <a:pt x="7752" y="4327"/>
                      <a:pt x="7929" y="4558"/>
                      <a:pt x="7752" y="4327"/>
                    </a:cubicBezTo>
                    <a:cubicBezTo>
                      <a:pt x="7771" y="4309"/>
                      <a:pt x="7782" y="4284"/>
                      <a:pt x="7782" y="4257"/>
                    </a:cubicBezTo>
                    <a:cubicBezTo>
                      <a:pt x="7782" y="4250"/>
                      <a:pt x="7781" y="4242"/>
                      <a:pt x="7780" y="4235"/>
                    </a:cubicBezTo>
                    <a:cubicBezTo>
                      <a:pt x="8589" y="3926"/>
                      <a:pt x="8319" y="4029"/>
                      <a:pt x="8589" y="3926"/>
                    </a:cubicBezTo>
                    <a:cubicBezTo>
                      <a:pt x="8607" y="3959"/>
                      <a:pt x="8636" y="3984"/>
                      <a:pt x="8671" y="3997"/>
                    </a:cubicBezTo>
                    <a:close/>
                    <a:moveTo>
                      <a:pt x="5937" y="2586"/>
                    </a:moveTo>
                    <a:lnTo>
                      <a:pt x="5937" y="2586"/>
                    </a:lnTo>
                    <a:cubicBezTo>
                      <a:pt x="7601" y="4203"/>
                      <a:pt x="7047" y="3664"/>
                      <a:pt x="7601" y="4203"/>
                    </a:cubicBezTo>
                    <a:cubicBezTo>
                      <a:pt x="7591" y="4218"/>
                      <a:pt x="7586" y="4237"/>
                      <a:pt x="7586" y="4257"/>
                    </a:cubicBezTo>
                    <a:cubicBezTo>
                      <a:pt x="7586" y="4261"/>
                      <a:pt x="7586" y="4265"/>
                      <a:pt x="7586" y="4269"/>
                    </a:cubicBezTo>
                    <a:cubicBezTo>
                      <a:pt x="6431" y="4628"/>
                      <a:pt x="6816" y="4508"/>
                      <a:pt x="6431" y="4628"/>
                    </a:cubicBezTo>
                    <a:cubicBezTo>
                      <a:pt x="6423" y="4611"/>
                      <a:pt x="6407" y="4598"/>
                      <a:pt x="6388" y="4592"/>
                    </a:cubicBezTo>
                    <a:cubicBezTo>
                      <a:pt x="5924" y="2594"/>
                      <a:pt x="6079" y="3260"/>
                      <a:pt x="5924" y="2594"/>
                    </a:cubicBezTo>
                    <a:cubicBezTo>
                      <a:pt x="5929" y="2592"/>
                      <a:pt x="5933" y="2589"/>
                      <a:pt x="5937" y="2586"/>
                    </a:cubicBezTo>
                    <a:close/>
                    <a:moveTo>
                      <a:pt x="5135" y="7960"/>
                    </a:moveTo>
                    <a:lnTo>
                      <a:pt x="5135" y="7960"/>
                    </a:lnTo>
                    <a:cubicBezTo>
                      <a:pt x="5115" y="7946"/>
                      <a:pt x="5093" y="7939"/>
                      <a:pt x="5069" y="7937"/>
                    </a:cubicBezTo>
                    <a:cubicBezTo>
                      <a:pt x="4921" y="5621"/>
                      <a:pt x="4971" y="6393"/>
                      <a:pt x="4921" y="5621"/>
                    </a:cubicBezTo>
                    <a:cubicBezTo>
                      <a:pt x="4936" y="5617"/>
                      <a:pt x="4951" y="5610"/>
                      <a:pt x="4963" y="5601"/>
                    </a:cubicBezTo>
                    <a:cubicBezTo>
                      <a:pt x="5967" y="6712"/>
                      <a:pt x="5633" y="6342"/>
                      <a:pt x="5967" y="6712"/>
                    </a:cubicBezTo>
                    <a:cubicBezTo>
                      <a:pt x="5938" y="6742"/>
                      <a:pt x="5919" y="6782"/>
                      <a:pt x="5919" y="6827"/>
                    </a:cubicBezTo>
                    <a:cubicBezTo>
                      <a:pt x="5919" y="6873"/>
                      <a:pt x="5938" y="6914"/>
                      <a:pt x="5968" y="6944"/>
                    </a:cubicBezTo>
                    <a:cubicBezTo>
                      <a:pt x="5691" y="7283"/>
                      <a:pt x="5413" y="7622"/>
                      <a:pt x="5135" y="7960"/>
                    </a:cubicBezTo>
                    <a:close/>
                    <a:moveTo>
                      <a:pt x="3157" y="6510"/>
                    </a:moveTo>
                    <a:lnTo>
                      <a:pt x="3157" y="6510"/>
                    </a:lnTo>
                    <a:cubicBezTo>
                      <a:pt x="3025" y="5125"/>
                      <a:pt x="3069" y="5587"/>
                      <a:pt x="3025" y="5125"/>
                    </a:cubicBezTo>
                    <a:cubicBezTo>
                      <a:pt x="3048" y="5118"/>
                      <a:pt x="3066" y="5099"/>
                      <a:pt x="3073" y="5076"/>
                    </a:cubicBezTo>
                    <a:cubicBezTo>
                      <a:pt x="4770" y="5488"/>
                      <a:pt x="4205" y="5351"/>
                      <a:pt x="4770" y="5488"/>
                    </a:cubicBezTo>
                    <a:cubicBezTo>
                      <a:pt x="4769" y="5493"/>
                      <a:pt x="4769" y="5499"/>
                      <a:pt x="4769" y="5505"/>
                    </a:cubicBezTo>
                    <a:cubicBezTo>
                      <a:pt x="4769" y="5522"/>
                      <a:pt x="4772" y="5537"/>
                      <a:pt x="4778" y="5551"/>
                    </a:cubicBezTo>
                    <a:cubicBezTo>
                      <a:pt x="3241" y="6550"/>
                      <a:pt x="3754" y="6217"/>
                      <a:pt x="3241" y="6550"/>
                    </a:cubicBezTo>
                    <a:cubicBezTo>
                      <a:pt x="3220" y="6526"/>
                      <a:pt x="3191" y="6511"/>
                      <a:pt x="3157" y="6510"/>
                    </a:cubicBezTo>
                    <a:close/>
                    <a:moveTo>
                      <a:pt x="3495" y="3906"/>
                    </a:moveTo>
                    <a:lnTo>
                      <a:pt x="3495" y="3906"/>
                    </a:lnTo>
                    <a:cubicBezTo>
                      <a:pt x="3506" y="3906"/>
                      <a:pt x="3516" y="3903"/>
                      <a:pt x="3526" y="3899"/>
                    </a:cubicBezTo>
                    <a:cubicBezTo>
                      <a:pt x="4804" y="5419"/>
                      <a:pt x="4378" y="4912"/>
                      <a:pt x="4804" y="5419"/>
                    </a:cubicBezTo>
                    <a:cubicBezTo>
                      <a:pt x="4793" y="5430"/>
                      <a:pt x="4784" y="5443"/>
                      <a:pt x="4778" y="5458"/>
                    </a:cubicBezTo>
                    <a:cubicBezTo>
                      <a:pt x="3075" y="5045"/>
                      <a:pt x="3643" y="5183"/>
                      <a:pt x="3075" y="5045"/>
                    </a:cubicBezTo>
                    <a:cubicBezTo>
                      <a:pt x="3071" y="5022"/>
                      <a:pt x="3057" y="5004"/>
                      <a:pt x="3039" y="4993"/>
                    </a:cubicBezTo>
                    <a:cubicBezTo>
                      <a:pt x="3484" y="3905"/>
                      <a:pt x="3336" y="4268"/>
                      <a:pt x="3484" y="3905"/>
                    </a:cubicBezTo>
                    <a:cubicBezTo>
                      <a:pt x="3487" y="3906"/>
                      <a:pt x="3491" y="3906"/>
                      <a:pt x="3495" y="3906"/>
                    </a:cubicBezTo>
                    <a:close/>
                    <a:moveTo>
                      <a:pt x="4890" y="5384"/>
                    </a:moveTo>
                    <a:lnTo>
                      <a:pt x="4890" y="5384"/>
                    </a:lnTo>
                    <a:cubicBezTo>
                      <a:pt x="4868" y="5384"/>
                      <a:pt x="4847" y="5390"/>
                      <a:pt x="4830" y="5401"/>
                    </a:cubicBezTo>
                    <a:cubicBezTo>
                      <a:pt x="3551" y="3880"/>
                      <a:pt x="3978" y="4387"/>
                      <a:pt x="3551" y="3880"/>
                    </a:cubicBezTo>
                    <a:cubicBezTo>
                      <a:pt x="3561" y="3867"/>
                      <a:pt x="3567" y="3851"/>
                      <a:pt x="3567" y="3833"/>
                    </a:cubicBezTo>
                    <a:cubicBezTo>
                      <a:pt x="3567" y="3814"/>
                      <a:pt x="3560" y="3796"/>
                      <a:pt x="3547" y="3783"/>
                    </a:cubicBezTo>
                    <a:cubicBezTo>
                      <a:pt x="4108" y="2865"/>
                      <a:pt x="3921" y="3171"/>
                      <a:pt x="4108" y="2865"/>
                    </a:cubicBezTo>
                    <a:cubicBezTo>
                      <a:pt x="4114" y="2867"/>
                      <a:pt x="4120" y="2867"/>
                      <a:pt x="4127" y="2867"/>
                    </a:cubicBezTo>
                    <a:cubicBezTo>
                      <a:pt x="4139" y="2867"/>
                      <a:pt x="4151" y="2864"/>
                      <a:pt x="4160" y="2859"/>
                    </a:cubicBezTo>
                    <a:cubicBezTo>
                      <a:pt x="5080" y="3818"/>
                      <a:pt x="4774" y="3498"/>
                      <a:pt x="5080" y="3818"/>
                    </a:cubicBezTo>
                    <a:cubicBezTo>
                      <a:pt x="5075" y="3825"/>
                      <a:pt x="5072" y="3833"/>
                      <a:pt x="5072" y="3842"/>
                    </a:cubicBezTo>
                    <a:cubicBezTo>
                      <a:pt x="5072" y="3860"/>
                      <a:pt x="5083" y="3876"/>
                      <a:pt x="5099" y="3884"/>
                    </a:cubicBezTo>
                    <a:cubicBezTo>
                      <a:pt x="4899" y="5385"/>
                      <a:pt x="4966" y="4885"/>
                      <a:pt x="4899" y="5385"/>
                    </a:cubicBezTo>
                    <a:cubicBezTo>
                      <a:pt x="4896" y="5385"/>
                      <a:pt x="4893" y="5384"/>
                      <a:pt x="4890" y="5384"/>
                    </a:cubicBezTo>
                    <a:close/>
                    <a:moveTo>
                      <a:pt x="5815" y="2547"/>
                    </a:moveTo>
                    <a:lnTo>
                      <a:pt x="5815" y="2547"/>
                    </a:lnTo>
                    <a:cubicBezTo>
                      <a:pt x="5819" y="2561"/>
                      <a:pt x="5827" y="2572"/>
                      <a:pt x="5836" y="2581"/>
                    </a:cubicBezTo>
                    <a:cubicBezTo>
                      <a:pt x="5128" y="3795"/>
                      <a:pt x="5364" y="3390"/>
                      <a:pt x="5128" y="3795"/>
                    </a:cubicBezTo>
                    <a:cubicBezTo>
                      <a:pt x="5125" y="3794"/>
                      <a:pt x="5123" y="3794"/>
                      <a:pt x="5121" y="3794"/>
                    </a:cubicBezTo>
                    <a:cubicBezTo>
                      <a:pt x="5115" y="3794"/>
                      <a:pt x="5109" y="3795"/>
                      <a:pt x="5104" y="3797"/>
                    </a:cubicBezTo>
                    <a:cubicBezTo>
                      <a:pt x="4183" y="2836"/>
                      <a:pt x="4490" y="3156"/>
                      <a:pt x="4183" y="2836"/>
                    </a:cubicBezTo>
                    <a:cubicBezTo>
                      <a:pt x="4189" y="2828"/>
                      <a:pt x="4192" y="2819"/>
                      <a:pt x="4193" y="2808"/>
                    </a:cubicBezTo>
                    <a:cubicBezTo>
                      <a:pt x="4734" y="2721"/>
                      <a:pt x="5275" y="2634"/>
                      <a:pt x="5815" y="2547"/>
                    </a:cubicBezTo>
                    <a:close/>
                    <a:moveTo>
                      <a:pt x="5130" y="3888"/>
                    </a:moveTo>
                    <a:lnTo>
                      <a:pt x="5130" y="3888"/>
                    </a:lnTo>
                    <a:cubicBezTo>
                      <a:pt x="5139" y="3886"/>
                      <a:pt x="5147" y="3883"/>
                      <a:pt x="5153" y="3878"/>
                    </a:cubicBezTo>
                    <a:cubicBezTo>
                      <a:pt x="6310" y="4627"/>
                      <a:pt x="5925" y="4377"/>
                      <a:pt x="6310" y="4627"/>
                    </a:cubicBezTo>
                    <a:cubicBezTo>
                      <a:pt x="6305" y="4636"/>
                      <a:pt x="6302" y="4646"/>
                      <a:pt x="6302" y="4658"/>
                    </a:cubicBezTo>
                    <a:cubicBezTo>
                      <a:pt x="6302" y="4668"/>
                      <a:pt x="6304" y="4677"/>
                      <a:pt x="6307" y="4685"/>
                    </a:cubicBezTo>
                    <a:cubicBezTo>
                      <a:pt x="4982" y="5427"/>
                      <a:pt x="5424" y="5180"/>
                      <a:pt x="4982" y="5427"/>
                    </a:cubicBezTo>
                    <a:cubicBezTo>
                      <a:pt x="4968" y="5411"/>
                      <a:pt x="4950" y="5398"/>
                      <a:pt x="4929" y="5391"/>
                    </a:cubicBezTo>
                    <a:cubicBezTo>
                      <a:pt x="4996" y="4890"/>
                      <a:pt x="5063" y="4389"/>
                      <a:pt x="5130" y="3888"/>
                    </a:cubicBezTo>
                    <a:close/>
                    <a:moveTo>
                      <a:pt x="6189" y="6702"/>
                    </a:moveTo>
                    <a:lnTo>
                      <a:pt x="6189" y="6702"/>
                    </a:lnTo>
                    <a:cubicBezTo>
                      <a:pt x="6161" y="6678"/>
                      <a:pt x="6124" y="6663"/>
                      <a:pt x="6084" y="6663"/>
                    </a:cubicBezTo>
                    <a:cubicBezTo>
                      <a:pt x="6049" y="6663"/>
                      <a:pt x="6017" y="6673"/>
                      <a:pt x="5991" y="6692"/>
                    </a:cubicBezTo>
                    <a:cubicBezTo>
                      <a:pt x="4985" y="5579"/>
                      <a:pt x="5321" y="5950"/>
                      <a:pt x="4985" y="5579"/>
                    </a:cubicBezTo>
                    <a:cubicBezTo>
                      <a:pt x="4995" y="5566"/>
                      <a:pt x="5002" y="5552"/>
                      <a:pt x="5007" y="5536"/>
                    </a:cubicBezTo>
                    <a:cubicBezTo>
                      <a:pt x="7039" y="5780"/>
                      <a:pt x="6362" y="5699"/>
                      <a:pt x="7039" y="5780"/>
                    </a:cubicBezTo>
                    <a:cubicBezTo>
                      <a:pt x="7041" y="5806"/>
                      <a:pt x="7050" y="5829"/>
                      <a:pt x="7064" y="5849"/>
                    </a:cubicBezTo>
                    <a:cubicBezTo>
                      <a:pt x="6773" y="6134"/>
                      <a:pt x="6481" y="6418"/>
                      <a:pt x="6189" y="6702"/>
                    </a:cubicBezTo>
                    <a:close/>
                    <a:moveTo>
                      <a:pt x="7041" y="5749"/>
                    </a:moveTo>
                    <a:lnTo>
                      <a:pt x="7041" y="5749"/>
                    </a:lnTo>
                    <a:cubicBezTo>
                      <a:pt x="5011" y="5505"/>
                      <a:pt x="5688" y="5587"/>
                      <a:pt x="5011" y="5505"/>
                    </a:cubicBezTo>
                    <a:cubicBezTo>
                      <a:pt x="5011" y="5487"/>
                      <a:pt x="5006" y="5469"/>
                      <a:pt x="4999" y="5454"/>
                    </a:cubicBezTo>
                    <a:cubicBezTo>
                      <a:pt x="6326" y="4710"/>
                      <a:pt x="5884" y="4958"/>
                      <a:pt x="6326" y="4710"/>
                    </a:cubicBezTo>
                    <a:cubicBezTo>
                      <a:pt x="6338" y="4720"/>
                      <a:pt x="6353" y="4726"/>
                      <a:pt x="6370" y="4726"/>
                    </a:cubicBezTo>
                    <a:cubicBezTo>
                      <a:pt x="6384" y="4726"/>
                      <a:pt x="6397" y="4722"/>
                      <a:pt x="6408" y="4715"/>
                    </a:cubicBezTo>
                    <a:cubicBezTo>
                      <a:pt x="7076" y="5687"/>
                      <a:pt x="6854" y="5363"/>
                      <a:pt x="7076" y="5687"/>
                    </a:cubicBezTo>
                    <a:cubicBezTo>
                      <a:pt x="7058" y="5704"/>
                      <a:pt x="7047" y="5725"/>
                      <a:pt x="7041" y="5749"/>
                    </a:cubicBezTo>
                    <a:close/>
                    <a:moveTo>
                      <a:pt x="6355" y="4591"/>
                    </a:moveTo>
                    <a:lnTo>
                      <a:pt x="6355" y="4591"/>
                    </a:lnTo>
                    <a:cubicBezTo>
                      <a:pt x="6346" y="4593"/>
                      <a:pt x="6338" y="4597"/>
                      <a:pt x="6330" y="4602"/>
                    </a:cubicBezTo>
                    <a:cubicBezTo>
                      <a:pt x="5168" y="3849"/>
                      <a:pt x="5556" y="4100"/>
                      <a:pt x="5168" y="3849"/>
                    </a:cubicBezTo>
                    <a:cubicBezTo>
                      <a:pt x="5168" y="3847"/>
                      <a:pt x="5169" y="3845"/>
                      <a:pt x="5169" y="3842"/>
                    </a:cubicBezTo>
                    <a:cubicBezTo>
                      <a:pt x="5169" y="3829"/>
                      <a:pt x="5164" y="3817"/>
                      <a:pt x="5156" y="3809"/>
                    </a:cubicBezTo>
                    <a:cubicBezTo>
                      <a:pt x="5863" y="2598"/>
                      <a:pt x="5628" y="3001"/>
                      <a:pt x="5863" y="2598"/>
                    </a:cubicBezTo>
                    <a:cubicBezTo>
                      <a:pt x="5872" y="2600"/>
                      <a:pt x="5881" y="2603"/>
                      <a:pt x="5889" y="2603"/>
                    </a:cubicBezTo>
                    <a:cubicBezTo>
                      <a:pt x="5891" y="2603"/>
                      <a:pt x="5892" y="2602"/>
                      <a:pt x="5894" y="2602"/>
                    </a:cubicBezTo>
                    <a:cubicBezTo>
                      <a:pt x="6048" y="3265"/>
                      <a:pt x="6202" y="3928"/>
                      <a:pt x="6355" y="4591"/>
                    </a:cubicBezTo>
                    <a:close/>
                    <a:moveTo>
                      <a:pt x="4143" y="1393"/>
                    </a:moveTo>
                    <a:lnTo>
                      <a:pt x="4143" y="1393"/>
                    </a:lnTo>
                    <a:cubicBezTo>
                      <a:pt x="5819" y="2491"/>
                      <a:pt x="5261" y="2125"/>
                      <a:pt x="5819" y="2491"/>
                    </a:cubicBezTo>
                    <a:cubicBezTo>
                      <a:pt x="5815" y="2499"/>
                      <a:pt x="5812" y="2508"/>
                      <a:pt x="5812" y="2517"/>
                    </a:cubicBezTo>
                    <a:cubicBezTo>
                      <a:pt x="4189" y="2777"/>
                      <a:pt x="4730" y="2690"/>
                      <a:pt x="4189" y="2777"/>
                    </a:cubicBezTo>
                    <a:cubicBezTo>
                      <a:pt x="4181" y="2756"/>
                      <a:pt x="4164" y="2741"/>
                      <a:pt x="4142" y="2736"/>
                    </a:cubicBezTo>
                    <a:cubicBezTo>
                      <a:pt x="4119" y="1405"/>
                      <a:pt x="4127" y="1848"/>
                      <a:pt x="4119" y="1405"/>
                    </a:cubicBezTo>
                    <a:cubicBezTo>
                      <a:pt x="4128" y="1403"/>
                      <a:pt x="4136" y="1398"/>
                      <a:pt x="4143" y="1393"/>
                    </a:cubicBezTo>
                    <a:close/>
                    <a:moveTo>
                      <a:pt x="3427" y="3808"/>
                    </a:moveTo>
                    <a:lnTo>
                      <a:pt x="3427" y="3808"/>
                    </a:lnTo>
                    <a:cubicBezTo>
                      <a:pt x="3424" y="3816"/>
                      <a:pt x="3422" y="3825"/>
                      <a:pt x="3422" y="3833"/>
                    </a:cubicBezTo>
                    <a:cubicBezTo>
                      <a:pt x="3422" y="3858"/>
                      <a:pt x="3435" y="3881"/>
                      <a:pt x="3455" y="3894"/>
                    </a:cubicBezTo>
                    <a:cubicBezTo>
                      <a:pt x="3009" y="4984"/>
                      <a:pt x="3158" y="4621"/>
                      <a:pt x="3009" y="4984"/>
                    </a:cubicBezTo>
                    <a:cubicBezTo>
                      <a:pt x="3007" y="4984"/>
                      <a:pt x="3005" y="4983"/>
                      <a:pt x="3003" y="4983"/>
                    </a:cubicBezTo>
                    <a:cubicBezTo>
                      <a:pt x="3002" y="4983"/>
                      <a:pt x="3000" y="4984"/>
                      <a:pt x="2998" y="4984"/>
                    </a:cubicBezTo>
                    <a:cubicBezTo>
                      <a:pt x="2361" y="3048"/>
                      <a:pt x="2574" y="3693"/>
                      <a:pt x="2361" y="3048"/>
                    </a:cubicBezTo>
                    <a:cubicBezTo>
                      <a:pt x="2717" y="3301"/>
                      <a:pt x="3072" y="3554"/>
                      <a:pt x="3427" y="3808"/>
                    </a:cubicBezTo>
                    <a:close/>
                    <a:moveTo>
                      <a:pt x="2968" y="4993"/>
                    </a:moveTo>
                    <a:lnTo>
                      <a:pt x="2968" y="4993"/>
                    </a:lnTo>
                    <a:cubicBezTo>
                      <a:pt x="2962" y="4996"/>
                      <a:pt x="2956" y="5001"/>
                      <a:pt x="2950" y="5006"/>
                    </a:cubicBezTo>
                    <a:cubicBezTo>
                      <a:pt x="2111" y="4680"/>
                      <a:pt x="2391" y="4789"/>
                      <a:pt x="2111" y="4680"/>
                    </a:cubicBezTo>
                    <a:cubicBezTo>
                      <a:pt x="2112" y="4675"/>
                      <a:pt x="2113" y="4668"/>
                      <a:pt x="2113" y="4662"/>
                    </a:cubicBezTo>
                    <a:cubicBezTo>
                      <a:pt x="2113" y="4628"/>
                      <a:pt x="2092" y="4598"/>
                      <a:pt x="2062" y="4585"/>
                    </a:cubicBezTo>
                    <a:cubicBezTo>
                      <a:pt x="2336" y="3071"/>
                      <a:pt x="2245" y="3576"/>
                      <a:pt x="2336" y="3071"/>
                    </a:cubicBezTo>
                    <a:cubicBezTo>
                      <a:pt x="2547" y="3712"/>
                      <a:pt x="2758" y="4353"/>
                      <a:pt x="2968" y="4993"/>
                    </a:cubicBezTo>
                    <a:close/>
                    <a:moveTo>
                      <a:pt x="2027" y="4577"/>
                    </a:moveTo>
                    <a:lnTo>
                      <a:pt x="2027" y="4577"/>
                    </a:lnTo>
                    <a:cubicBezTo>
                      <a:pt x="2020" y="4577"/>
                      <a:pt x="2013" y="4578"/>
                      <a:pt x="2006" y="4580"/>
                    </a:cubicBezTo>
                    <a:cubicBezTo>
                      <a:pt x="1330" y="3229"/>
                      <a:pt x="1556" y="3679"/>
                      <a:pt x="1330" y="3229"/>
                    </a:cubicBezTo>
                    <a:cubicBezTo>
                      <a:pt x="1344" y="3219"/>
                      <a:pt x="1354" y="3203"/>
                      <a:pt x="1355" y="3183"/>
                    </a:cubicBezTo>
                    <a:cubicBezTo>
                      <a:pt x="2312" y="3026"/>
                      <a:pt x="1993" y="3078"/>
                      <a:pt x="2312" y="3026"/>
                    </a:cubicBezTo>
                    <a:cubicBezTo>
                      <a:pt x="2032" y="4577"/>
                      <a:pt x="2126" y="4060"/>
                      <a:pt x="2032" y="4577"/>
                    </a:cubicBezTo>
                    <a:cubicBezTo>
                      <a:pt x="2030" y="4577"/>
                      <a:pt x="2029" y="4577"/>
                      <a:pt x="2027" y="4577"/>
                    </a:cubicBezTo>
                    <a:close/>
                    <a:moveTo>
                      <a:pt x="1303" y="3246"/>
                    </a:moveTo>
                    <a:lnTo>
                      <a:pt x="1303" y="3246"/>
                    </a:lnTo>
                    <a:cubicBezTo>
                      <a:pt x="1977" y="4593"/>
                      <a:pt x="1753" y="4144"/>
                      <a:pt x="1977" y="4593"/>
                    </a:cubicBezTo>
                    <a:cubicBezTo>
                      <a:pt x="1956" y="4609"/>
                      <a:pt x="1942" y="4634"/>
                      <a:pt x="1942" y="4662"/>
                    </a:cubicBezTo>
                    <a:cubicBezTo>
                      <a:pt x="1942" y="4673"/>
                      <a:pt x="1944" y="4684"/>
                      <a:pt x="1948" y="4693"/>
                    </a:cubicBezTo>
                    <a:cubicBezTo>
                      <a:pt x="1359" y="5008"/>
                      <a:pt x="1556" y="4903"/>
                      <a:pt x="1359" y="5008"/>
                    </a:cubicBezTo>
                    <a:cubicBezTo>
                      <a:pt x="1348" y="4992"/>
                      <a:pt x="1331" y="4980"/>
                      <a:pt x="1311" y="4976"/>
                    </a:cubicBezTo>
                    <a:cubicBezTo>
                      <a:pt x="1309" y="4399"/>
                      <a:pt x="1306" y="3823"/>
                      <a:pt x="1303" y="3246"/>
                    </a:cubicBezTo>
                    <a:close/>
                    <a:moveTo>
                      <a:pt x="1373" y="5052"/>
                    </a:moveTo>
                    <a:lnTo>
                      <a:pt x="1373" y="5052"/>
                    </a:lnTo>
                    <a:cubicBezTo>
                      <a:pt x="1373" y="5047"/>
                      <a:pt x="1372" y="5042"/>
                      <a:pt x="1372" y="5037"/>
                    </a:cubicBezTo>
                    <a:cubicBezTo>
                      <a:pt x="1965" y="4720"/>
                      <a:pt x="1768" y="4826"/>
                      <a:pt x="1965" y="4720"/>
                    </a:cubicBezTo>
                    <a:cubicBezTo>
                      <a:pt x="1975" y="4731"/>
                      <a:pt x="1988" y="4739"/>
                      <a:pt x="2003" y="4744"/>
                    </a:cubicBezTo>
                    <a:cubicBezTo>
                      <a:pt x="1695" y="6616"/>
                      <a:pt x="1798" y="5992"/>
                      <a:pt x="1695" y="6616"/>
                    </a:cubicBezTo>
                    <a:cubicBezTo>
                      <a:pt x="1327" y="5122"/>
                      <a:pt x="1450" y="5620"/>
                      <a:pt x="1327" y="5122"/>
                    </a:cubicBezTo>
                    <a:cubicBezTo>
                      <a:pt x="1354" y="5110"/>
                      <a:pt x="1373" y="5083"/>
                      <a:pt x="1373" y="5052"/>
                    </a:cubicBezTo>
                    <a:close/>
                    <a:moveTo>
                      <a:pt x="2034" y="4747"/>
                    </a:moveTo>
                    <a:lnTo>
                      <a:pt x="2034" y="4747"/>
                    </a:lnTo>
                    <a:cubicBezTo>
                      <a:pt x="2061" y="4745"/>
                      <a:pt x="2084" y="4730"/>
                      <a:pt x="2099" y="4709"/>
                    </a:cubicBezTo>
                    <a:cubicBezTo>
                      <a:pt x="2934" y="5034"/>
                      <a:pt x="2656" y="4926"/>
                      <a:pt x="2934" y="5034"/>
                    </a:cubicBezTo>
                    <a:cubicBezTo>
                      <a:pt x="2931" y="5041"/>
                      <a:pt x="2930" y="5048"/>
                      <a:pt x="2930" y="5056"/>
                    </a:cubicBezTo>
                    <a:cubicBezTo>
                      <a:pt x="2930" y="5070"/>
                      <a:pt x="2934" y="5083"/>
                      <a:pt x="2941" y="5094"/>
                    </a:cubicBezTo>
                    <a:cubicBezTo>
                      <a:pt x="1723" y="6638"/>
                      <a:pt x="2129" y="6124"/>
                      <a:pt x="1723" y="6638"/>
                    </a:cubicBezTo>
                    <a:cubicBezTo>
                      <a:pt x="1827" y="6008"/>
                      <a:pt x="1931" y="5378"/>
                      <a:pt x="2034" y="4747"/>
                    </a:cubicBezTo>
                    <a:close/>
                    <a:moveTo>
                      <a:pt x="5157" y="7982"/>
                    </a:moveTo>
                    <a:lnTo>
                      <a:pt x="5157" y="7982"/>
                    </a:lnTo>
                    <a:cubicBezTo>
                      <a:pt x="5992" y="6964"/>
                      <a:pt x="5714" y="7304"/>
                      <a:pt x="5992" y="6964"/>
                    </a:cubicBezTo>
                    <a:cubicBezTo>
                      <a:pt x="6018" y="6981"/>
                      <a:pt x="6050" y="6991"/>
                      <a:pt x="6084" y="6991"/>
                    </a:cubicBezTo>
                    <a:cubicBezTo>
                      <a:pt x="6125" y="6991"/>
                      <a:pt x="6163" y="6976"/>
                      <a:pt x="6192" y="6950"/>
                    </a:cubicBezTo>
                    <a:cubicBezTo>
                      <a:pt x="6903" y="7668"/>
                      <a:pt x="6666" y="7429"/>
                      <a:pt x="6903" y="7668"/>
                    </a:cubicBezTo>
                    <a:cubicBezTo>
                      <a:pt x="6891" y="7683"/>
                      <a:pt x="6884" y="7701"/>
                      <a:pt x="6884" y="7721"/>
                    </a:cubicBezTo>
                    <a:cubicBezTo>
                      <a:pt x="6884" y="7722"/>
                      <a:pt x="6885" y="7723"/>
                      <a:pt x="6885" y="7723"/>
                    </a:cubicBezTo>
                    <a:cubicBezTo>
                      <a:pt x="5181" y="8028"/>
                      <a:pt x="5749" y="7927"/>
                      <a:pt x="5181" y="8028"/>
                    </a:cubicBezTo>
                    <a:cubicBezTo>
                      <a:pt x="5177" y="8010"/>
                      <a:pt x="5168" y="7995"/>
                      <a:pt x="5157" y="7982"/>
                    </a:cubicBezTo>
                    <a:close/>
                    <a:moveTo>
                      <a:pt x="6967" y="7633"/>
                    </a:moveTo>
                    <a:lnTo>
                      <a:pt x="6967" y="7633"/>
                    </a:lnTo>
                    <a:cubicBezTo>
                      <a:pt x="6952" y="7635"/>
                      <a:pt x="6938" y="7639"/>
                      <a:pt x="6926" y="7646"/>
                    </a:cubicBezTo>
                    <a:cubicBezTo>
                      <a:pt x="6213" y="6927"/>
                      <a:pt x="6451" y="7167"/>
                      <a:pt x="6213" y="6927"/>
                    </a:cubicBezTo>
                    <a:cubicBezTo>
                      <a:pt x="6234" y="6899"/>
                      <a:pt x="6248" y="6865"/>
                      <a:pt x="6248" y="6827"/>
                    </a:cubicBezTo>
                    <a:cubicBezTo>
                      <a:pt x="6248" y="6788"/>
                      <a:pt x="6234" y="6753"/>
                      <a:pt x="6211" y="6724"/>
                    </a:cubicBezTo>
                    <a:cubicBezTo>
                      <a:pt x="7086" y="5871"/>
                      <a:pt x="6795" y="6156"/>
                      <a:pt x="7086" y="5871"/>
                    </a:cubicBezTo>
                    <a:cubicBezTo>
                      <a:pt x="7099" y="5881"/>
                      <a:pt x="7114" y="5888"/>
                      <a:pt x="7131" y="5893"/>
                    </a:cubicBezTo>
                    <a:cubicBezTo>
                      <a:pt x="7077" y="6473"/>
                      <a:pt x="7022" y="7053"/>
                      <a:pt x="6967" y="7633"/>
                    </a:cubicBezTo>
                    <a:close/>
                    <a:moveTo>
                      <a:pt x="7162" y="5652"/>
                    </a:moveTo>
                    <a:lnTo>
                      <a:pt x="7162" y="5652"/>
                    </a:lnTo>
                    <a:cubicBezTo>
                      <a:pt x="7139" y="5652"/>
                      <a:pt x="7118" y="5659"/>
                      <a:pt x="7100" y="5669"/>
                    </a:cubicBezTo>
                    <a:cubicBezTo>
                      <a:pt x="6430" y="4692"/>
                      <a:pt x="6654" y="5018"/>
                      <a:pt x="6430" y="4692"/>
                    </a:cubicBezTo>
                    <a:cubicBezTo>
                      <a:pt x="6435" y="4682"/>
                      <a:pt x="6439" y="4671"/>
                      <a:pt x="6439" y="4658"/>
                    </a:cubicBezTo>
                    <a:cubicBezTo>
                      <a:pt x="7595" y="4299"/>
                      <a:pt x="7210" y="4418"/>
                      <a:pt x="7595" y="4299"/>
                    </a:cubicBezTo>
                    <a:cubicBezTo>
                      <a:pt x="7603" y="4317"/>
                      <a:pt x="7617" y="4332"/>
                      <a:pt x="7634" y="4341"/>
                    </a:cubicBezTo>
                    <a:cubicBezTo>
                      <a:pt x="7184" y="5654"/>
                      <a:pt x="7334" y="5216"/>
                      <a:pt x="7184" y="5654"/>
                    </a:cubicBezTo>
                    <a:cubicBezTo>
                      <a:pt x="7176" y="5653"/>
                      <a:pt x="7169" y="5652"/>
                      <a:pt x="7162" y="5652"/>
                    </a:cubicBezTo>
                    <a:close/>
                    <a:moveTo>
                      <a:pt x="7213" y="5664"/>
                    </a:moveTo>
                    <a:lnTo>
                      <a:pt x="7213" y="5664"/>
                    </a:lnTo>
                    <a:cubicBezTo>
                      <a:pt x="7663" y="4353"/>
                      <a:pt x="7513" y="4790"/>
                      <a:pt x="7663" y="4353"/>
                    </a:cubicBezTo>
                    <a:cubicBezTo>
                      <a:pt x="7669" y="4354"/>
                      <a:pt x="7676" y="4355"/>
                      <a:pt x="7683" y="4355"/>
                    </a:cubicBezTo>
                    <a:cubicBezTo>
                      <a:pt x="7699" y="4355"/>
                      <a:pt x="7714" y="4352"/>
                      <a:pt x="7727" y="4345"/>
                    </a:cubicBezTo>
                    <a:cubicBezTo>
                      <a:pt x="8257" y="5039"/>
                      <a:pt x="8080" y="4808"/>
                      <a:pt x="8257" y="5039"/>
                    </a:cubicBezTo>
                    <a:cubicBezTo>
                      <a:pt x="8232" y="5060"/>
                      <a:pt x="8217" y="5090"/>
                      <a:pt x="8217" y="5124"/>
                    </a:cubicBezTo>
                    <a:cubicBezTo>
                      <a:pt x="8217" y="5139"/>
                      <a:pt x="8220" y="5153"/>
                      <a:pt x="8225" y="5165"/>
                    </a:cubicBezTo>
                    <a:cubicBezTo>
                      <a:pt x="7261" y="5703"/>
                      <a:pt x="7582" y="5524"/>
                      <a:pt x="7261" y="5703"/>
                    </a:cubicBezTo>
                    <a:cubicBezTo>
                      <a:pt x="7249" y="5686"/>
                      <a:pt x="7233" y="5673"/>
                      <a:pt x="7213" y="5664"/>
                    </a:cubicBezTo>
                    <a:close/>
                    <a:moveTo>
                      <a:pt x="8643" y="3725"/>
                    </a:moveTo>
                    <a:lnTo>
                      <a:pt x="8643" y="3725"/>
                    </a:lnTo>
                    <a:cubicBezTo>
                      <a:pt x="7928" y="2874"/>
                      <a:pt x="8166" y="3157"/>
                      <a:pt x="7928" y="2874"/>
                    </a:cubicBezTo>
                    <a:cubicBezTo>
                      <a:pt x="7942" y="2861"/>
                      <a:pt x="7952" y="2843"/>
                      <a:pt x="7952" y="2822"/>
                    </a:cubicBezTo>
                    <a:cubicBezTo>
                      <a:pt x="7952" y="2802"/>
                      <a:pt x="7943" y="2784"/>
                      <a:pt x="7930" y="2772"/>
                    </a:cubicBezTo>
                    <a:cubicBezTo>
                      <a:pt x="8230" y="2330"/>
                      <a:pt x="8130" y="2477"/>
                      <a:pt x="8230" y="2330"/>
                    </a:cubicBezTo>
                    <a:cubicBezTo>
                      <a:pt x="8261" y="2352"/>
                      <a:pt x="8298" y="2365"/>
                      <a:pt x="8339" y="2365"/>
                    </a:cubicBezTo>
                    <a:cubicBezTo>
                      <a:pt x="8357" y="2365"/>
                      <a:pt x="8375" y="2362"/>
                      <a:pt x="8391" y="2357"/>
                    </a:cubicBezTo>
                    <a:cubicBezTo>
                      <a:pt x="8684" y="3708"/>
                      <a:pt x="8586" y="3257"/>
                      <a:pt x="8684" y="3708"/>
                    </a:cubicBezTo>
                    <a:cubicBezTo>
                      <a:pt x="8670" y="3712"/>
                      <a:pt x="8656" y="3717"/>
                      <a:pt x="8643" y="3725"/>
                    </a:cubicBezTo>
                    <a:close/>
                    <a:moveTo>
                      <a:pt x="7542" y="2120"/>
                    </a:moveTo>
                    <a:lnTo>
                      <a:pt x="7542" y="2120"/>
                    </a:lnTo>
                    <a:cubicBezTo>
                      <a:pt x="7546" y="2120"/>
                      <a:pt x="7550" y="2118"/>
                      <a:pt x="7553" y="2117"/>
                    </a:cubicBezTo>
                    <a:cubicBezTo>
                      <a:pt x="7831" y="2778"/>
                      <a:pt x="7738" y="2557"/>
                      <a:pt x="7831" y="2778"/>
                    </a:cubicBezTo>
                    <a:cubicBezTo>
                      <a:pt x="7824" y="2786"/>
                      <a:pt x="7819" y="2796"/>
                      <a:pt x="7817" y="2806"/>
                    </a:cubicBezTo>
                    <a:cubicBezTo>
                      <a:pt x="5967" y="2516"/>
                      <a:pt x="6584" y="2612"/>
                      <a:pt x="5967" y="2516"/>
                    </a:cubicBezTo>
                    <a:cubicBezTo>
                      <a:pt x="7508" y="2102"/>
                      <a:pt x="6995" y="2240"/>
                      <a:pt x="7508" y="2102"/>
                    </a:cubicBezTo>
                    <a:cubicBezTo>
                      <a:pt x="7516" y="2113"/>
                      <a:pt x="7528" y="2120"/>
                      <a:pt x="7542" y="2120"/>
                    </a:cubicBezTo>
                    <a:close/>
                    <a:moveTo>
                      <a:pt x="6344" y="1570"/>
                    </a:moveTo>
                    <a:lnTo>
                      <a:pt x="6344" y="1570"/>
                    </a:lnTo>
                    <a:cubicBezTo>
                      <a:pt x="5909" y="2448"/>
                      <a:pt x="6054" y="2155"/>
                      <a:pt x="5909" y="2448"/>
                    </a:cubicBezTo>
                    <a:cubicBezTo>
                      <a:pt x="5903" y="2447"/>
                      <a:pt x="5896" y="2446"/>
                      <a:pt x="5889" y="2446"/>
                    </a:cubicBezTo>
                    <a:cubicBezTo>
                      <a:pt x="5888" y="2446"/>
                      <a:pt x="5886" y="2446"/>
                      <a:pt x="5885" y="2446"/>
                    </a:cubicBezTo>
                    <a:cubicBezTo>
                      <a:pt x="5439" y="1006"/>
                      <a:pt x="5588" y="1486"/>
                      <a:pt x="5439" y="1006"/>
                    </a:cubicBezTo>
                    <a:cubicBezTo>
                      <a:pt x="5439" y="1005"/>
                      <a:pt x="5439" y="1006"/>
                      <a:pt x="5439" y="1005"/>
                    </a:cubicBezTo>
                    <a:cubicBezTo>
                      <a:pt x="6324" y="1522"/>
                      <a:pt x="6029" y="1349"/>
                      <a:pt x="6324" y="1522"/>
                    </a:cubicBezTo>
                    <a:cubicBezTo>
                      <a:pt x="6324" y="1524"/>
                      <a:pt x="6323" y="1525"/>
                      <a:pt x="6323" y="1527"/>
                    </a:cubicBezTo>
                    <a:cubicBezTo>
                      <a:pt x="6323" y="1545"/>
                      <a:pt x="6331" y="1560"/>
                      <a:pt x="6344" y="1570"/>
                    </a:cubicBezTo>
                    <a:close/>
                    <a:moveTo>
                      <a:pt x="5337" y="976"/>
                    </a:moveTo>
                    <a:lnTo>
                      <a:pt x="5337" y="976"/>
                    </a:lnTo>
                    <a:cubicBezTo>
                      <a:pt x="4160" y="1315"/>
                      <a:pt x="4553" y="1202"/>
                      <a:pt x="4160" y="1315"/>
                    </a:cubicBezTo>
                    <a:cubicBezTo>
                      <a:pt x="4149" y="1294"/>
                      <a:pt x="4127" y="1279"/>
                      <a:pt x="4103" y="1279"/>
                    </a:cubicBezTo>
                    <a:cubicBezTo>
                      <a:pt x="4094" y="1279"/>
                      <a:pt x="4085" y="1281"/>
                      <a:pt x="4077" y="1284"/>
                    </a:cubicBezTo>
                    <a:cubicBezTo>
                      <a:pt x="3688" y="734"/>
                      <a:pt x="3818" y="917"/>
                      <a:pt x="3688" y="734"/>
                    </a:cubicBezTo>
                    <a:cubicBezTo>
                      <a:pt x="3690" y="732"/>
                      <a:pt x="3691" y="731"/>
                      <a:pt x="3692" y="729"/>
                    </a:cubicBezTo>
                    <a:cubicBezTo>
                      <a:pt x="4241" y="811"/>
                      <a:pt x="4789" y="893"/>
                      <a:pt x="5337" y="976"/>
                    </a:cubicBezTo>
                    <a:close/>
                    <a:moveTo>
                      <a:pt x="4054" y="1385"/>
                    </a:moveTo>
                    <a:lnTo>
                      <a:pt x="4054" y="1385"/>
                    </a:lnTo>
                    <a:cubicBezTo>
                      <a:pt x="4063" y="1395"/>
                      <a:pt x="4074" y="1403"/>
                      <a:pt x="4088" y="1405"/>
                    </a:cubicBezTo>
                    <a:cubicBezTo>
                      <a:pt x="4112" y="2735"/>
                      <a:pt x="4104" y="2291"/>
                      <a:pt x="4112" y="2735"/>
                    </a:cubicBezTo>
                    <a:cubicBezTo>
                      <a:pt x="4102" y="2738"/>
                      <a:pt x="4093" y="2742"/>
                      <a:pt x="4086" y="2748"/>
                    </a:cubicBezTo>
                    <a:cubicBezTo>
                      <a:pt x="2969" y="1848"/>
                      <a:pt x="3342" y="2148"/>
                      <a:pt x="2969" y="1848"/>
                    </a:cubicBezTo>
                    <a:cubicBezTo>
                      <a:pt x="3331" y="1693"/>
                      <a:pt x="3693" y="1539"/>
                      <a:pt x="4054" y="1385"/>
                    </a:cubicBezTo>
                    <a:close/>
                    <a:moveTo>
                      <a:pt x="4066" y="2773"/>
                    </a:moveTo>
                    <a:lnTo>
                      <a:pt x="4066" y="2773"/>
                    </a:lnTo>
                    <a:cubicBezTo>
                      <a:pt x="4063" y="2779"/>
                      <a:pt x="4061" y="2786"/>
                      <a:pt x="4061" y="2794"/>
                    </a:cubicBezTo>
                    <a:cubicBezTo>
                      <a:pt x="2359" y="2989"/>
                      <a:pt x="2927" y="2924"/>
                      <a:pt x="2359" y="2989"/>
                    </a:cubicBezTo>
                    <a:cubicBezTo>
                      <a:pt x="2944" y="1868"/>
                      <a:pt x="2749" y="2241"/>
                      <a:pt x="2944" y="1868"/>
                    </a:cubicBezTo>
                    <a:cubicBezTo>
                      <a:pt x="3318" y="2169"/>
                      <a:pt x="3692" y="2471"/>
                      <a:pt x="4066" y="2773"/>
                    </a:cubicBezTo>
                    <a:close/>
                    <a:moveTo>
                      <a:pt x="2023" y="1769"/>
                    </a:moveTo>
                    <a:lnTo>
                      <a:pt x="2023" y="1769"/>
                    </a:lnTo>
                    <a:cubicBezTo>
                      <a:pt x="1323" y="3078"/>
                      <a:pt x="1557" y="2641"/>
                      <a:pt x="1323" y="3078"/>
                    </a:cubicBezTo>
                    <a:cubicBezTo>
                      <a:pt x="1532" y="2051"/>
                      <a:pt x="1463" y="2393"/>
                      <a:pt x="1532" y="2051"/>
                    </a:cubicBezTo>
                    <a:cubicBezTo>
                      <a:pt x="1553" y="2047"/>
                      <a:pt x="1570" y="2029"/>
                      <a:pt x="1570" y="2006"/>
                    </a:cubicBezTo>
                    <a:cubicBezTo>
                      <a:pt x="1570" y="2002"/>
                      <a:pt x="1568" y="1998"/>
                      <a:pt x="1567" y="1994"/>
                    </a:cubicBezTo>
                    <a:cubicBezTo>
                      <a:pt x="2014" y="1757"/>
                      <a:pt x="1865" y="1836"/>
                      <a:pt x="2014" y="1757"/>
                    </a:cubicBezTo>
                    <a:cubicBezTo>
                      <a:pt x="2016" y="1761"/>
                      <a:pt x="2020" y="1765"/>
                      <a:pt x="2023" y="1769"/>
                    </a:cubicBezTo>
                    <a:close/>
                    <a:moveTo>
                      <a:pt x="1493" y="2085"/>
                    </a:moveTo>
                    <a:lnTo>
                      <a:pt x="1493" y="2085"/>
                    </a:lnTo>
                    <a:cubicBezTo>
                      <a:pt x="1284" y="3115"/>
                      <a:pt x="1354" y="2771"/>
                      <a:pt x="1284" y="3115"/>
                    </a:cubicBezTo>
                    <a:cubicBezTo>
                      <a:pt x="1252" y="3119"/>
                      <a:pt x="1227" y="3146"/>
                      <a:pt x="1227" y="3178"/>
                    </a:cubicBezTo>
                    <a:cubicBezTo>
                      <a:pt x="1227" y="3185"/>
                      <a:pt x="1228" y="3191"/>
                      <a:pt x="1230" y="3196"/>
                    </a:cubicBezTo>
                    <a:cubicBezTo>
                      <a:pt x="606" y="3578"/>
                      <a:pt x="814" y="3450"/>
                      <a:pt x="606" y="3578"/>
                    </a:cubicBezTo>
                    <a:cubicBezTo>
                      <a:pt x="902" y="3080"/>
                      <a:pt x="1198" y="2582"/>
                      <a:pt x="1493" y="2085"/>
                    </a:cubicBezTo>
                    <a:close/>
                    <a:moveTo>
                      <a:pt x="900" y="4623"/>
                    </a:moveTo>
                    <a:lnTo>
                      <a:pt x="900" y="4623"/>
                    </a:lnTo>
                    <a:cubicBezTo>
                      <a:pt x="908" y="4622"/>
                      <a:pt x="915" y="4621"/>
                      <a:pt x="922" y="4618"/>
                    </a:cubicBezTo>
                    <a:cubicBezTo>
                      <a:pt x="1233" y="5007"/>
                      <a:pt x="1130" y="4878"/>
                      <a:pt x="1233" y="5007"/>
                    </a:cubicBezTo>
                    <a:cubicBezTo>
                      <a:pt x="1224" y="5019"/>
                      <a:pt x="1219" y="5035"/>
                      <a:pt x="1219" y="5052"/>
                    </a:cubicBezTo>
                    <a:cubicBezTo>
                      <a:pt x="1219" y="5083"/>
                      <a:pt x="1237" y="5109"/>
                      <a:pt x="1263" y="5121"/>
                    </a:cubicBezTo>
                    <a:cubicBezTo>
                      <a:pt x="884" y="6491"/>
                      <a:pt x="1011" y="6035"/>
                      <a:pt x="884" y="6491"/>
                    </a:cubicBezTo>
                    <a:cubicBezTo>
                      <a:pt x="890" y="5869"/>
                      <a:pt x="895" y="5246"/>
                      <a:pt x="900" y="4623"/>
                    </a:cubicBezTo>
                    <a:close/>
                    <a:moveTo>
                      <a:pt x="1722" y="6752"/>
                    </a:moveTo>
                    <a:lnTo>
                      <a:pt x="1722" y="6752"/>
                    </a:lnTo>
                    <a:cubicBezTo>
                      <a:pt x="2303" y="7549"/>
                      <a:pt x="2110" y="7284"/>
                      <a:pt x="2303" y="7549"/>
                    </a:cubicBezTo>
                    <a:cubicBezTo>
                      <a:pt x="2296" y="7558"/>
                      <a:pt x="2293" y="7569"/>
                      <a:pt x="2293" y="7580"/>
                    </a:cubicBezTo>
                    <a:cubicBezTo>
                      <a:pt x="2293" y="7591"/>
                      <a:pt x="2296" y="7602"/>
                      <a:pt x="2302" y="7611"/>
                    </a:cubicBezTo>
                    <a:cubicBezTo>
                      <a:pt x="1886" y="8040"/>
                      <a:pt x="2025" y="7897"/>
                      <a:pt x="1886" y="8040"/>
                    </a:cubicBezTo>
                    <a:cubicBezTo>
                      <a:pt x="1879" y="8035"/>
                      <a:pt x="1870" y="8032"/>
                      <a:pt x="1860" y="8030"/>
                    </a:cubicBezTo>
                    <a:cubicBezTo>
                      <a:pt x="1720" y="6753"/>
                      <a:pt x="1767" y="7179"/>
                      <a:pt x="1720" y="6753"/>
                    </a:cubicBezTo>
                    <a:cubicBezTo>
                      <a:pt x="1721" y="6753"/>
                      <a:pt x="1721" y="6752"/>
                      <a:pt x="1722" y="6752"/>
                    </a:cubicBezTo>
                    <a:close/>
                    <a:moveTo>
                      <a:pt x="1908" y="8063"/>
                    </a:moveTo>
                    <a:lnTo>
                      <a:pt x="1908" y="8063"/>
                    </a:lnTo>
                    <a:cubicBezTo>
                      <a:pt x="2325" y="7631"/>
                      <a:pt x="2186" y="7775"/>
                      <a:pt x="2325" y="7631"/>
                    </a:cubicBezTo>
                    <a:cubicBezTo>
                      <a:pt x="2327" y="7632"/>
                      <a:pt x="2330" y="7633"/>
                      <a:pt x="2332" y="7633"/>
                    </a:cubicBezTo>
                    <a:cubicBezTo>
                      <a:pt x="2329" y="8408"/>
                      <a:pt x="2330" y="8150"/>
                      <a:pt x="2329" y="8408"/>
                    </a:cubicBezTo>
                    <a:cubicBezTo>
                      <a:pt x="2320" y="8387"/>
                      <a:pt x="2323" y="8394"/>
                      <a:pt x="2320" y="8387"/>
                    </a:cubicBezTo>
                    <a:cubicBezTo>
                      <a:pt x="2314" y="8380"/>
                      <a:pt x="2316" y="8383"/>
                      <a:pt x="2314" y="8380"/>
                    </a:cubicBezTo>
                    <a:cubicBezTo>
                      <a:pt x="1911" y="8118"/>
                      <a:pt x="2046" y="8206"/>
                      <a:pt x="1911" y="8118"/>
                    </a:cubicBezTo>
                    <a:cubicBezTo>
                      <a:pt x="1914" y="8111"/>
                      <a:pt x="1916" y="8103"/>
                      <a:pt x="1916" y="8094"/>
                    </a:cubicBezTo>
                    <a:cubicBezTo>
                      <a:pt x="1916" y="8083"/>
                      <a:pt x="1913" y="8072"/>
                      <a:pt x="1908" y="8063"/>
                    </a:cubicBezTo>
                    <a:close/>
                    <a:moveTo>
                      <a:pt x="2348" y="7525"/>
                    </a:moveTo>
                    <a:lnTo>
                      <a:pt x="2348" y="7525"/>
                    </a:lnTo>
                    <a:cubicBezTo>
                      <a:pt x="2340" y="7525"/>
                      <a:pt x="2334" y="7526"/>
                      <a:pt x="2327" y="7529"/>
                    </a:cubicBezTo>
                    <a:cubicBezTo>
                      <a:pt x="1748" y="6736"/>
                      <a:pt x="1941" y="7001"/>
                      <a:pt x="1748" y="6736"/>
                    </a:cubicBezTo>
                    <a:cubicBezTo>
                      <a:pt x="1755" y="6728"/>
                      <a:pt x="1760" y="6718"/>
                      <a:pt x="1761" y="6707"/>
                    </a:cubicBezTo>
                    <a:cubicBezTo>
                      <a:pt x="3038" y="6647"/>
                      <a:pt x="2613" y="6667"/>
                      <a:pt x="3038" y="6647"/>
                    </a:cubicBezTo>
                    <a:cubicBezTo>
                      <a:pt x="3042" y="6669"/>
                      <a:pt x="3052" y="6689"/>
                      <a:pt x="3066" y="6704"/>
                    </a:cubicBezTo>
                    <a:cubicBezTo>
                      <a:pt x="2373" y="7531"/>
                      <a:pt x="2604" y="7256"/>
                      <a:pt x="2373" y="7531"/>
                    </a:cubicBezTo>
                    <a:cubicBezTo>
                      <a:pt x="2366" y="7527"/>
                      <a:pt x="2357" y="7525"/>
                      <a:pt x="2348" y="7525"/>
                    </a:cubicBezTo>
                    <a:close/>
                    <a:moveTo>
                      <a:pt x="2396" y="7552"/>
                    </a:moveTo>
                    <a:lnTo>
                      <a:pt x="2396" y="7552"/>
                    </a:lnTo>
                    <a:cubicBezTo>
                      <a:pt x="3090" y="6724"/>
                      <a:pt x="2859" y="7000"/>
                      <a:pt x="3090" y="6724"/>
                    </a:cubicBezTo>
                    <a:cubicBezTo>
                      <a:pt x="3107" y="6735"/>
                      <a:pt x="3126" y="6742"/>
                      <a:pt x="3148" y="6742"/>
                    </a:cubicBezTo>
                    <a:cubicBezTo>
                      <a:pt x="3276" y="8163"/>
                      <a:pt x="3234" y="7690"/>
                      <a:pt x="3276" y="8163"/>
                    </a:cubicBezTo>
                    <a:cubicBezTo>
                      <a:pt x="3264" y="8167"/>
                      <a:pt x="3254" y="8172"/>
                      <a:pt x="3246" y="8180"/>
                    </a:cubicBezTo>
                    <a:cubicBezTo>
                      <a:pt x="2400" y="7601"/>
                      <a:pt x="2682" y="7794"/>
                      <a:pt x="2400" y="7601"/>
                    </a:cubicBezTo>
                    <a:cubicBezTo>
                      <a:pt x="2402" y="7594"/>
                      <a:pt x="2404" y="7587"/>
                      <a:pt x="2404" y="7580"/>
                    </a:cubicBezTo>
                    <a:cubicBezTo>
                      <a:pt x="2404" y="7570"/>
                      <a:pt x="2401" y="7560"/>
                      <a:pt x="2396" y="7552"/>
                    </a:cubicBezTo>
                    <a:close/>
                    <a:moveTo>
                      <a:pt x="3178" y="6740"/>
                    </a:moveTo>
                    <a:lnTo>
                      <a:pt x="3178" y="6740"/>
                    </a:lnTo>
                    <a:cubicBezTo>
                      <a:pt x="3200" y="6735"/>
                      <a:pt x="3220" y="6724"/>
                      <a:pt x="3236" y="6708"/>
                    </a:cubicBezTo>
                    <a:cubicBezTo>
                      <a:pt x="4958" y="7999"/>
                      <a:pt x="4384" y="7569"/>
                      <a:pt x="4958" y="7999"/>
                    </a:cubicBezTo>
                    <a:cubicBezTo>
                      <a:pt x="4948" y="8017"/>
                      <a:pt x="4941" y="8038"/>
                      <a:pt x="4941" y="8059"/>
                    </a:cubicBezTo>
                    <a:cubicBezTo>
                      <a:pt x="4941" y="8060"/>
                      <a:pt x="4941" y="8060"/>
                      <a:pt x="4941" y="8061"/>
                    </a:cubicBezTo>
                    <a:cubicBezTo>
                      <a:pt x="3370" y="8212"/>
                      <a:pt x="3894" y="8162"/>
                      <a:pt x="3370" y="8212"/>
                    </a:cubicBezTo>
                    <a:cubicBezTo>
                      <a:pt x="3362" y="8184"/>
                      <a:pt x="3337" y="8164"/>
                      <a:pt x="3307" y="8160"/>
                    </a:cubicBezTo>
                    <a:cubicBezTo>
                      <a:pt x="3264" y="7687"/>
                      <a:pt x="3221" y="7214"/>
                      <a:pt x="3178" y="6740"/>
                    </a:cubicBezTo>
                    <a:close/>
                    <a:moveTo>
                      <a:pt x="6192" y="8757"/>
                    </a:moveTo>
                    <a:lnTo>
                      <a:pt x="6192" y="8757"/>
                    </a:lnTo>
                    <a:cubicBezTo>
                      <a:pt x="6158" y="8757"/>
                      <a:pt x="6130" y="8773"/>
                      <a:pt x="6110" y="8797"/>
                    </a:cubicBezTo>
                    <a:cubicBezTo>
                      <a:pt x="5170" y="8118"/>
                      <a:pt x="5484" y="8345"/>
                      <a:pt x="5170" y="8118"/>
                    </a:cubicBezTo>
                    <a:cubicBezTo>
                      <a:pt x="5180" y="8101"/>
                      <a:pt x="5186" y="8081"/>
                      <a:pt x="5186" y="8059"/>
                    </a:cubicBezTo>
                    <a:cubicBezTo>
                      <a:pt x="6891" y="7754"/>
                      <a:pt x="6323" y="7856"/>
                      <a:pt x="6891" y="7754"/>
                    </a:cubicBezTo>
                    <a:cubicBezTo>
                      <a:pt x="6896" y="7767"/>
                      <a:pt x="6904" y="7778"/>
                      <a:pt x="6913" y="7787"/>
                    </a:cubicBezTo>
                    <a:cubicBezTo>
                      <a:pt x="6234" y="8766"/>
                      <a:pt x="6461" y="8440"/>
                      <a:pt x="6234" y="8766"/>
                    </a:cubicBezTo>
                    <a:cubicBezTo>
                      <a:pt x="6221" y="8760"/>
                      <a:pt x="6207" y="8757"/>
                      <a:pt x="6192" y="8757"/>
                    </a:cubicBezTo>
                    <a:close/>
                    <a:moveTo>
                      <a:pt x="7032" y="7655"/>
                    </a:moveTo>
                    <a:lnTo>
                      <a:pt x="7032" y="7655"/>
                    </a:lnTo>
                    <a:cubicBezTo>
                      <a:pt x="7023" y="7647"/>
                      <a:pt x="7011" y="7640"/>
                      <a:pt x="6998" y="7637"/>
                    </a:cubicBezTo>
                    <a:cubicBezTo>
                      <a:pt x="7162" y="5897"/>
                      <a:pt x="7108" y="6477"/>
                      <a:pt x="7162" y="5897"/>
                    </a:cubicBezTo>
                    <a:cubicBezTo>
                      <a:pt x="7211" y="5897"/>
                      <a:pt x="7252" y="5868"/>
                      <a:pt x="7272" y="5827"/>
                    </a:cubicBezTo>
                    <a:cubicBezTo>
                      <a:pt x="8722" y="6235"/>
                      <a:pt x="8239" y="6099"/>
                      <a:pt x="8722" y="6235"/>
                    </a:cubicBezTo>
                    <a:cubicBezTo>
                      <a:pt x="8722" y="6249"/>
                      <a:pt x="8726" y="6261"/>
                      <a:pt x="8733" y="6272"/>
                    </a:cubicBezTo>
                    <a:cubicBezTo>
                      <a:pt x="8488" y="6457"/>
                      <a:pt x="8570" y="6396"/>
                      <a:pt x="8488" y="6457"/>
                    </a:cubicBezTo>
                    <a:cubicBezTo>
                      <a:pt x="8003" y="6857"/>
                      <a:pt x="7517" y="7256"/>
                      <a:pt x="7032" y="7655"/>
                    </a:cubicBezTo>
                    <a:close/>
                    <a:moveTo>
                      <a:pt x="8727" y="6204"/>
                    </a:moveTo>
                    <a:lnTo>
                      <a:pt x="8727" y="6204"/>
                    </a:lnTo>
                    <a:cubicBezTo>
                      <a:pt x="7282" y="5798"/>
                      <a:pt x="7764" y="5934"/>
                      <a:pt x="7282" y="5798"/>
                    </a:cubicBezTo>
                    <a:cubicBezTo>
                      <a:pt x="7284" y="5791"/>
                      <a:pt x="7284" y="5782"/>
                      <a:pt x="7284" y="5775"/>
                    </a:cubicBezTo>
                    <a:cubicBezTo>
                      <a:pt x="7284" y="5759"/>
                      <a:pt x="7281" y="5745"/>
                      <a:pt x="7276" y="5731"/>
                    </a:cubicBezTo>
                    <a:cubicBezTo>
                      <a:pt x="8241" y="5193"/>
                      <a:pt x="7919" y="5373"/>
                      <a:pt x="8241" y="5193"/>
                    </a:cubicBezTo>
                    <a:cubicBezTo>
                      <a:pt x="8261" y="5220"/>
                      <a:pt x="8293" y="5237"/>
                      <a:pt x="8329" y="5237"/>
                    </a:cubicBezTo>
                    <a:cubicBezTo>
                      <a:pt x="8343" y="5237"/>
                      <a:pt x="8356" y="5234"/>
                      <a:pt x="8367" y="5230"/>
                    </a:cubicBezTo>
                    <a:cubicBezTo>
                      <a:pt x="8758" y="6166"/>
                      <a:pt x="8628" y="5854"/>
                      <a:pt x="8758" y="6166"/>
                    </a:cubicBezTo>
                    <a:cubicBezTo>
                      <a:pt x="8744" y="6175"/>
                      <a:pt x="8733" y="6188"/>
                      <a:pt x="8727" y="6204"/>
                    </a:cubicBezTo>
                    <a:close/>
                    <a:moveTo>
                      <a:pt x="8752" y="4004"/>
                    </a:moveTo>
                    <a:lnTo>
                      <a:pt x="8752" y="4004"/>
                    </a:lnTo>
                    <a:cubicBezTo>
                      <a:pt x="8796" y="3996"/>
                      <a:pt x="8832" y="3969"/>
                      <a:pt x="8854" y="3931"/>
                    </a:cubicBezTo>
                    <a:cubicBezTo>
                      <a:pt x="9242" y="4123"/>
                      <a:pt x="9113" y="4059"/>
                      <a:pt x="9242" y="4123"/>
                    </a:cubicBezTo>
                    <a:cubicBezTo>
                      <a:pt x="9242" y="4125"/>
                      <a:pt x="9241" y="4127"/>
                      <a:pt x="9241" y="4129"/>
                    </a:cubicBezTo>
                    <a:cubicBezTo>
                      <a:pt x="9241" y="4154"/>
                      <a:pt x="9256" y="4175"/>
                      <a:pt x="9278" y="4186"/>
                    </a:cubicBezTo>
                    <a:cubicBezTo>
                      <a:pt x="8812" y="6127"/>
                      <a:pt x="8967" y="5480"/>
                      <a:pt x="8812" y="6127"/>
                    </a:cubicBezTo>
                    <a:cubicBezTo>
                      <a:pt x="8792" y="5419"/>
                      <a:pt x="8772" y="4711"/>
                      <a:pt x="8752" y="4004"/>
                    </a:cubicBezTo>
                    <a:close/>
                    <a:moveTo>
                      <a:pt x="9352" y="4171"/>
                    </a:moveTo>
                    <a:lnTo>
                      <a:pt x="9352" y="4171"/>
                    </a:lnTo>
                    <a:cubicBezTo>
                      <a:pt x="9507" y="4230"/>
                      <a:pt x="9455" y="4210"/>
                      <a:pt x="9507" y="4230"/>
                    </a:cubicBezTo>
                    <a:cubicBezTo>
                      <a:pt x="9504" y="4238"/>
                      <a:pt x="9502" y="4247"/>
                      <a:pt x="9502" y="4257"/>
                    </a:cubicBezTo>
                    <a:cubicBezTo>
                      <a:pt x="9502" y="4286"/>
                      <a:pt x="9518" y="4311"/>
                      <a:pt x="9542" y="4324"/>
                    </a:cubicBezTo>
                    <a:cubicBezTo>
                      <a:pt x="9382" y="4969"/>
                      <a:pt x="9435" y="4754"/>
                      <a:pt x="9382" y="4969"/>
                    </a:cubicBezTo>
                    <a:cubicBezTo>
                      <a:pt x="9324" y="4189"/>
                      <a:pt x="9343" y="4449"/>
                      <a:pt x="9324" y="4189"/>
                    </a:cubicBezTo>
                    <a:cubicBezTo>
                      <a:pt x="9335" y="4186"/>
                      <a:pt x="9345" y="4180"/>
                      <a:pt x="9352" y="4171"/>
                    </a:cubicBezTo>
                    <a:close/>
                    <a:moveTo>
                      <a:pt x="9525" y="4202"/>
                    </a:moveTo>
                    <a:lnTo>
                      <a:pt x="9525" y="4202"/>
                    </a:lnTo>
                    <a:cubicBezTo>
                      <a:pt x="9368" y="4144"/>
                      <a:pt x="9420" y="4163"/>
                      <a:pt x="9368" y="4144"/>
                    </a:cubicBezTo>
                    <a:cubicBezTo>
                      <a:pt x="9368" y="4139"/>
                      <a:pt x="9369" y="4133"/>
                      <a:pt x="9369" y="4129"/>
                    </a:cubicBezTo>
                    <a:cubicBezTo>
                      <a:pt x="9369" y="4104"/>
                      <a:pt x="9356" y="4083"/>
                      <a:pt x="9336" y="4072"/>
                    </a:cubicBezTo>
                    <a:cubicBezTo>
                      <a:pt x="9425" y="3675"/>
                      <a:pt x="9395" y="3807"/>
                      <a:pt x="9425" y="3675"/>
                    </a:cubicBezTo>
                    <a:cubicBezTo>
                      <a:pt x="9550" y="4186"/>
                      <a:pt x="9508" y="4015"/>
                      <a:pt x="9550" y="4186"/>
                    </a:cubicBezTo>
                    <a:cubicBezTo>
                      <a:pt x="9540" y="4190"/>
                      <a:pt x="9531" y="4195"/>
                      <a:pt x="9525" y="4202"/>
                    </a:cubicBezTo>
                    <a:close/>
                    <a:moveTo>
                      <a:pt x="9278" y="4071"/>
                    </a:moveTo>
                    <a:lnTo>
                      <a:pt x="9278" y="4071"/>
                    </a:lnTo>
                    <a:cubicBezTo>
                      <a:pt x="9267" y="4076"/>
                      <a:pt x="9258" y="4083"/>
                      <a:pt x="9251" y="4093"/>
                    </a:cubicBezTo>
                    <a:cubicBezTo>
                      <a:pt x="8867" y="3904"/>
                      <a:pt x="8995" y="3967"/>
                      <a:pt x="8867" y="3904"/>
                    </a:cubicBezTo>
                    <a:cubicBezTo>
                      <a:pt x="8872" y="3888"/>
                      <a:pt x="8876" y="3872"/>
                      <a:pt x="8876" y="3855"/>
                    </a:cubicBezTo>
                    <a:cubicBezTo>
                      <a:pt x="8876" y="3804"/>
                      <a:pt x="8851" y="3760"/>
                      <a:pt x="8814" y="3732"/>
                    </a:cubicBezTo>
                    <a:cubicBezTo>
                      <a:pt x="9108" y="3170"/>
                      <a:pt x="9010" y="3357"/>
                      <a:pt x="9108" y="3170"/>
                    </a:cubicBezTo>
                    <a:cubicBezTo>
                      <a:pt x="9110" y="3170"/>
                      <a:pt x="9111" y="3170"/>
                      <a:pt x="9112" y="3170"/>
                    </a:cubicBezTo>
                    <a:cubicBezTo>
                      <a:pt x="9114" y="3170"/>
                      <a:pt x="9115" y="3170"/>
                      <a:pt x="9117" y="3170"/>
                    </a:cubicBezTo>
                    <a:cubicBezTo>
                      <a:pt x="9171" y="3470"/>
                      <a:pt x="9224" y="3770"/>
                      <a:pt x="9278" y="4071"/>
                    </a:cubicBezTo>
                    <a:close/>
                    <a:moveTo>
                      <a:pt x="9079" y="3158"/>
                    </a:moveTo>
                    <a:lnTo>
                      <a:pt x="9079" y="3158"/>
                    </a:lnTo>
                    <a:cubicBezTo>
                      <a:pt x="8787" y="3716"/>
                      <a:pt x="8884" y="3530"/>
                      <a:pt x="8787" y="3716"/>
                    </a:cubicBezTo>
                    <a:cubicBezTo>
                      <a:pt x="8767" y="3707"/>
                      <a:pt x="8746" y="3702"/>
                      <a:pt x="8724" y="3702"/>
                    </a:cubicBezTo>
                    <a:cubicBezTo>
                      <a:pt x="8720" y="3702"/>
                      <a:pt x="8717" y="3703"/>
                      <a:pt x="8715" y="3703"/>
                    </a:cubicBezTo>
                    <a:cubicBezTo>
                      <a:pt x="8421" y="2346"/>
                      <a:pt x="8519" y="2798"/>
                      <a:pt x="8421" y="2346"/>
                    </a:cubicBezTo>
                    <a:cubicBezTo>
                      <a:pt x="8438" y="2337"/>
                      <a:pt x="8455" y="2326"/>
                      <a:pt x="8468" y="2313"/>
                    </a:cubicBezTo>
                    <a:cubicBezTo>
                      <a:pt x="9080" y="3070"/>
                      <a:pt x="8876" y="2817"/>
                      <a:pt x="9080" y="3070"/>
                    </a:cubicBezTo>
                    <a:cubicBezTo>
                      <a:pt x="9066" y="3080"/>
                      <a:pt x="9057" y="3096"/>
                      <a:pt x="9057" y="3114"/>
                    </a:cubicBezTo>
                    <a:cubicBezTo>
                      <a:pt x="9057" y="3132"/>
                      <a:pt x="9066" y="3148"/>
                      <a:pt x="9079" y="3158"/>
                    </a:cubicBezTo>
                    <a:close/>
                    <a:moveTo>
                      <a:pt x="7517" y="1618"/>
                    </a:moveTo>
                    <a:lnTo>
                      <a:pt x="7517" y="1618"/>
                    </a:lnTo>
                    <a:cubicBezTo>
                      <a:pt x="7534" y="2031"/>
                      <a:pt x="7528" y="1893"/>
                      <a:pt x="7534" y="2031"/>
                    </a:cubicBezTo>
                    <a:cubicBezTo>
                      <a:pt x="7526" y="2033"/>
                      <a:pt x="7519" y="2036"/>
                      <a:pt x="7514" y="2040"/>
                    </a:cubicBezTo>
                    <a:cubicBezTo>
                      <a:pt x="6447" y="1550"/>
                      <a:pt x="6803" y="1713"/>
                      <a:pt x="6447" y="1550"/>
                    </a:cubicBezTo>
                    <a:cubicBezTo>
                      <a:pt x="7439" y="1528"/>
                      <a:pt x="7109" y="1535"/>
                      <a:pt x="7439" y="1528"/>
                    </a:cubicBezTo>
                    <a:cubicBezTo>
                      <a:pt x="7441" y="1574"/>
                      <a:pt x="7474" y="1610"/>
                      <a:pt x="7517" y="1618"/>
                    </a:cubicBezTo>
                    <a:close/>
                    <a:moveTo>
                      <a:pt x="6332" y="1490"/>
                    </a:moveTo>
                    <a:lnTo>
                      <a:pt x="6332" y="1490"/>
                    </a:lnTo>
                    <a:cubicBezTo>
                      <a:pt x="5453" y="977"/>
                      <a:pt x="5746" y="1148"/>
                      <a:pt x="5453" y="977"/>
                    </a:cubicBezTo>
                    <a:cubicBezTo>
                      <a:pt x="5453" y="975"/>
                      <a:pt x="5455" y="973"/>
                      <a:pt x="5455" y="971"/>
                    </a:cubicBezTo>
                    <a:cubicBezTo>
                      <a:pt x="5455" y="962"/>
                      <a:pt x="5451" y="954"/>
                      <a:pt x="5446" y="946"/>
                    </a:cubicBezTo>
                    <a:cubicBezTo>
                      <a:pt x="5720" y="533"/>
                      <a:pt x="5629" y="670"/>
                      <a:pt x="5720" y="533"/>
                    </a:cubicBezTo>
                    <a:cubicBezTo>
                      <a:pt x="5723" y="534"/>
                      <a:pt x="5726" y="534"/>
                      <a:pt x="5728" y="534"/>
                    </a:cubicBezTo>
                    <a:cubicBezTo>
                      <a:pt x="5731" y="534"/>
                      <a:pt x="5733" y="534"/>
                      <a:pt x="5735" y="533"/>
                    </a:cubicBezTo>
                    <a:cubicBezTo>
                      <a:pt x="5934" y="852"/>
                      <a:pt x="6133" y="1171"/>
                      <a:pt x="6332" y="1490"/>
                    </a:cubicBezTo>
                    <a:close/>
                    <a:moveTo>
                      <a:pt x="5604" y="489"/>
                    </a:moveTo>
                    <a:lnTo>
                      <a:pt x="5604" y="489"/>
                    </a:lnTo>
                    <a:cubicBezTo>
                      <a:pt x="3745" y="680"/>
                      <a:pt x="4365" y="616"/>
                      <a:pt x="3745" y="680"/>
                    </a:cubicBezTo>
                    <a:cubicBezTo>
                      <a:pt x="4473" y="358"/>
                      <a:pt x="4231" y="465"/>
                      <a:pt x="4473" y="358"/>
                    </a:cubicBezTo>
                    <a:cubicBezTo>
                      <a:pt x="4488" y="381"/>
                      <a:pt x="4513" y="397"/>
                      <a:pt x="4543" y="397"/>
                    </a:cubicBezTo>
                    <a:cubicBezTo>
                      <a:pt x="4579" y="397"/>
                      <a:pt x="4610" y="373"/>
                      <a:pt x="4621" y="340"/>
                    </a:cubicBezTo>
                    <a:cubicBezTo>
                      <a:pt x="4949" y="389"/>
                      <a:pt x="5277" y="439"/>
                      <a:pt x="5604" y="489"/>
                    </a:cubicBezTo>
                    <a:close/>
                    <a:moveTo>
                      <a:pt x="3609" y="734"/>
                    </a:moveTo>
                    <a:lnTo>
                      <a:pt x="3609" y="734"/>
                    </a:lnTo>
                    <a:cubicBezTo>
                      <a:pt x="3610" y="734"/>
                      <a:pt x="3611" y="736"/>
                      <a:pt x="3611" y="737"/>
                    </a:cubicBezTo>
                    <a:cubicBezTo>
                      <a:pt x="2942" y="1808"/>
                      <a:pt x="3165" y="1451"/>
                      <a:pt x="2942" y="1808"/>
                    </a:cubicBezTo>
                    <a:cubicBezTo>
                      <a:pt x="2691" y="1084"/>
                      <a:pt x="2775" y="1325"/>
                      <a:pt x="2691" y="1084"/>
                    </a:cubicBezTo>
                    <a:cubicBezTo>
                      <a:pt x="2714" y="1070"/>
                      <a:pt x="2729" y="1046"/>
                      <a:pt x="2729" y="1018"/>
                    </a:cubicBezTo>
                    <a:cubicBezTo>
                      <a:pt x="2729" y="1011"/>
                      <a:pt x="2728" y="1004"/>
                      <a:pt x="2726" y="998"/>
                    </a:cubicBezTo>
                    <a:cubicBezTo>
                      <a:pt x="3021" y="910"/>
                      <a:pt x="3315" y="822"/>
                      <a:pt x="3609" y="734"/>
                    </a:cubicBezTo>
                    <a:close/>
                    <a:moveTo>
                      <a:pt x="1557" y="1392"/>
                    </a:moveTo>
                    <a:lnTo>
                      <a:pt x="1557" y="1392"/>
                    </a:lnTo>
                    <a:cubicBezTo>
                      <a:pt x="2009" y="1683"/>
                      <a:pt x="1859" y="1586"/>
                      <a:pt x="2009" y="1683"/>
                    </a:cubicBezTo>
                    <a:cubicBezTo>
                      <a:pt x="2005" y="1693"/>
                      <a:pt x="2002" y="1704"/>
                      <a:pt x="2002" y="1716"/>
                    </a:cubicBezTo>
                    <a:cubicBezTo>
                      <a:pt x="2002" y="1720"/>
                      <a:pt x="2003" y="1723"/>
                      <a:pt x="2003" y="1727"/>
                    </a:cubicBezTo>
                    <a:cubicBezTo>
                      <a:pt x="1549" y="1968"/>
                      <a:pt x="1701" y="1887"/>
                      <a:pt x="1549" y="1968"/>
                    </a:cubicBezTo>
                    <a:cubicBezTo>
                      <a:pt x="1546" y="1967"/>
                      <a:pt x="1544" y="1965"/>
                      <a:pt x="1542" y="1964"/>
                    </a:cubicBezTo>
                    <a:cubicBezTo>
                      <a:pt x="1535" y="1405"/>
                      <a:pt x="1538" y="1591"/>
                      <a:pt x="1535" y="1405"/>
                    </a:cubicBezTo>
                    <a:cubicBezTo>
                      <a:pt x="1544" y="1403"/>
                      <a:pt x="1551" y="1398"/>
                      <a:pt x="1557" y="1392"/>
                    </a:cubicBezTo>
                    <a:close/>
                    <a:moveTo>
                      <a:pt x="939" y="2053"/>
                    </a:moveTo>
                    <a:lnTo>
                      <a:pt x="939" y="2053"/>
                    </a:lnTo>
                    <a:cubicBezTo>
                      <a:pt x="1478" y="2017"/>
                      <a:pt x="1299" y="2029"/>
                      <a:pt x="1478" y="2017"/>
                    </a:cubicBezTo>
                    <a:cubicBezTo>
                      <a:pt x="1478" y="2019"/>
                      <a:pt x="1478" y="2021"/>
                      <a:pt x="1479" y="2023"/>
                    </a:cubicBezTo>
                    <a:cubicBezTo>
                      <a:pt x="1011" y="2492"/>
                      <a:pt x="1167" y="2335"/>
                      <a:pt x="1011" y="2492"/>
                    </a:cubicBezTo>
                    <a:cubicBezTo>
                      <a:pt x="1001" y="2484"/>
                      <a:pt x="988" y="2479"/>
                      <a:pt x="975" y="2478"/>
                    </a:cubicBezTo>
                    <a:cubicBezTo>
                      <a:pt x="916" y="2085"/>
                      <a:pt x="936" y="2216"/>
                      <a:pt x="916" y="2085"/>
                    </a:cubicBezTo>
                    <a:cubicBezTo>
                      <a:pt x="928" y="2079"/>
                      <a:pt x="936" y="2067"/>
                      <a:pt x="939" y="2053"/>
                    </a:cubicBezTo>
                    <a:close/>
                    <a:moveTo>
                      <a:pt x="966" y="2631"/>
                    </a:moveTo>
                    <a:lnTo>
                      <a:pt x="966" y="2631"/>
                    </a:lnTo>
                    <a:cubicBezTo>
                      <a:pt x="1009" y="2631"/>
                      <a:pt x="1043" y="2596"/>
                      <a:pt x="1043" y="2554"/>
                    </a:cubicBezTo>
                    <a:cubicBezTo>
                      <a:pt x="1043" y="2539"/>
                      <a:pt x="1039" y="2526"/>
                      <a:pt x="1032" y="2514"/>
                    </a:cubicBezTo>
                    <a:cubicBezTo>
                      <a:pt x="1449" y="2098"/>
                      <a:pt x="1310" y="2236"/>
                      <a:pt x="1449" y="2098"/>
                    </a:cubicBezTo>
                    <a:cubicBezTo>
                      <a:pt x="640" y="3457"/>
                      <a:pt x="910" y="3004"/>
                      <a:pt x="640" y="3457"/>
                    </a:cubicBezTo>
                    <a:cubicBezTo>
                      <a:pt x="958" y="2630"/>
                      <a:pt x="852" y="2905"/>
                      <a:pt x="958" y="2630"/>
                    </a:cubicBezTo>
                    <a:cubicBezTo>
                      <a:pt x="961" y="2631"/>
                      <a:pt x="964" y="2631"/>
                      <a:pt x="966" y="2631"/>
                    </a:cubicBezTo>
                    <a:close/>
                    <a:moveTo>
                      <a:pt x="564" y="3570"/>
                    </a:moveTo>
                    <a:lnTo>
                      <a:pt x="564" y="3570"/>
                    </a:lnTo>
                    <a:cubicBezTo>
                      <a:pt x="542" y="3574"/>
                      <a:pt x="525" y="3592"/>
                      <a:pt x="525" y="3615"/>
                    </a:cubicBezTo>
                    <a:cubicBezTo>
                      <a:pt x="525" y="3619"/>
                      <a:pt x="527" y="3622"/>
                      <a:pt x="528" y="3626"/>
                    </a:cubicBezTo>
                    <a:cubicBezTo>
                      <a:pt x="217" y="3824"/>
                      <a:pt x="321" y="3758"/>
                      <a:pt x="217" y="3824"/>
                    </a:cubicBezTo>
                    <a:cubicBezTo>
                      <a:pt x="216" y="3822"/>
                      <a:pt x="214" y="3822"/>
                      <a:pt x="213" y="3820"/>
                    </a:cubicBezTo>
                    <a:cubicBezTo>
                      <a:pt x="895" y="2708"/>
                      <a:pt x="668" y="3078"/>
                      <a:pt x="895" y="2708"/>
                    </a:cubicBezTo>
                    <a:cubicBezTo>
                      <a:pt x="785" y="2995"/>
                      <a:pt x="675" y="3282"/>
                      <a:pt x="564" y="3570"/>
                    </a:cubicBezTo>
                    <a:close/>
                    <a:moveTo>
                      <a:pt x="239" y="3876"/>
                    </a:moveTo>
                    <a:lnTo>
                      <a:pt x="239" y="3876"/>
                    </a:lnTo>
                    <a:cubicBezTo>
                      <a:pt x="239" y="3867"/>
                      <a:pt x="237" y="3858"/>
                      <a:pt x="234" y="3850"/>
                    </a:cubicBezTo>
                    <a:cubicBezTo>
                      <a:pt x="541" y="3654"/>
                      <a:pt x="439" y="3719"/>
                      <a:pt x="541" y="3654"/>
                    </a:cubicBezTo>
                    <a:cubicBezTo>
                      <a:pt x="417" y="5024"/>
                      <a:pt x="459" y="4567"/>
                      <a:pt x="417" y="5024"/>
                    </a:cubicBezTo>
                    <a:cubicBezTo>
                      <a:pt x="187" y="3945"/>
                      <a:pt x="264" y="4305"/>
                      <a:pt x="187" y="3945"/>
                    </a:cubicBezTo>
                    <a:cubicBezTo>
                      <a:pt x="217" y="3936"/>
                      <a:pt x="239" y="3908"/>
                      <a:pt x="239" y="3876"/>
                    </a:cubicBezTo>
                    <a:close/>
                    <a:moveTo>
                      <a:pt x="381" y="5094"/>
                    </a:moveTo>
                    <a:lnTo>
                      <a:pt x="381" y="5094"/>
                    </a:lnTo>
                    <a:cubicBezTo>
                      <a:pt x="110" y="4995"/>
                      <a:pt x="201" y="5028"/>
                      <a:pt x="110" y="4995"/>
                    </a:cubicBezTo>
                    <a:cubicBezTo>
                      <a:pt x="110" y="4994"/>
                      <a:pt x="110" y="4993"/>
                      <a:pt x="110" y="4992"/>
                    </a:cubicBezTo>
                    <a:cubicBezTo>
                      <a:pt x="110" y="4968"/>
                      <a:pt x="96" y="4948"/>
                      <a:pt x="75" y="4940"/>
                    </a:cubicBezTo>
                    <a:cubicBezTo>
                      <a:pt x="163" y="3983"/>
                      <a:pt x="134" y="4302"/>
                      <a:pt x="163" y="3983"/>
                    </a:cubicBezTo>
                    <a:cubicBezTo>
                      <a:pt x="396" y="5078"/>
                      <a:pt x="319" y="4713"/>
                      <a:pt x="396" y="5078"/>
                    </a:cubicBezTo>
                    <a:cubicBezTo>
                      <a:pt x="390" y="5082"/>
                      <a:pt x="385" y="5088"/>
                      <a:pt x="381" y="5094"/>
                    </a:cubicBezTo>
                    <a:close/>
                    <a:moveTo>
                      <a:pt x="99" y="5025"/>
                    </a:moveTo>
                    <a:lnTo>
                      <a:pt x="99" y="5025"/>
                    </a:lnTo>
                    <a:cubicBezTo>
                      <a:pt x="372" y="5123"/>
                      <a:pt x="281" y="5091"/>
                      <a:pt x="372" y="5123"/>
                    </a:cubicBezTo>
                    <a:cubicBezTo>
                      <a:pt x="372" y="5124"/>
                      <a:pt x="372" y="5124"/>
                      <a:pt x="372" y="5124"/>
                    </a:cubicBezTo>
                    <a:cubicBezTo>
                      <a:pt x="372" y="5138"/>
                      <a:pt x="377" y="5149"/>
                      <a:pt x="384" y="5159"/>
                    </a:cubicBezTo>
                    <a:cubicBezTo>
                      <a:pt x="166" y="5490"/>
                      <a:pt x="239" y="5380"/>
                      <a:pt x="166" y="5490"/>
                    </a:cubicBezTo>
                    <a:cubicBezTo>
                      <a:pt x="166" y="5490"/>
                      <a:pt x="166" y="5490"/>
                      <a:pt x="166" y="5489"/>
                    </a:cubicBezTo>
                    <a:cubicBezTo>
                      <a:pt x="81" y="5040"/>
                      <a:pt x="110" y="5190"/>
                      <a:pt x="81" y="5040"/>
                    </a:cubicBezTo>
                    <a:cubicBezTo>
                      <a:pt x="88" y="5037"/>
                      <a:pt x="95" y="5031"/>
                      <a:pt x="99" y="5025"/>
                    </a:cubicBezTo>
                    <a:close/>
                    <a:moveTo>
                      <a:pt x="196" y="5527"/>
                    </a:moveTo>
                    <a:lnTo>
                      <a:pt x="196" y="5527"/>
                    </a:lnTo>
                    <a:cubicBezTo>
                      <a:pt x="196" y="5520"/>
                      <a:pt x="194" y="5514"/>
                      <a:pt x="191" y="5509"/>
                    </a:cubicBezTo>
                    <a:cubicBezTo>
                      <a:pt x="408" y="5180"/>
                      <a:pt x="336" y="5290"/>
                      <a:pt x="408" y="5180"/>
                    </a:cubicBezTo>
                    <a:cubicBezTo>
                      <a:pt x="423" y="6436"/>
                      <a:pt x="418" y="6018"/>
                      <a:pt x="423" y="6436"/>
                    </a:cubicBezTo>
                    <a:cubicBezTo>
                      <a:pt x="181" y="5557"/>
                      <a:pt x="262" y="5850"/>
                      <a:pt x="181" y="5557"/>
                    </a:cubicBezTo>
                    <a:cubicBezTo>
                      <a:pt x="190" y="5549"/>
                      <a:pt x="196" y="5539"/>
                      <a:pt x="196" y="5527"/>
                    </a:cubicBezTo>
                    <a:close/>
                    <a:moveTo>
                      <a:pt x="483" y="5124"/>
                    </a:moveTo>
                    <a:lnTo>
                      <a:pt x="483" y="5124"/>
                    </a:lnTo>
                    <a:cubicBezTo>
                      <a:pt x="483" y="5112"/>
                      <a:pt x="478" y="5101"/>
                      <a:pt x="472" y="5092"/>
                    </a:cubicBezTo>
                    <a:cubicBezTo>
                      <a:pt x="853" y="4611"/>
                      <a:pt x="726" y="4772"/>
                      <a:pt x="853" y="4611"/>
                    </a:cubicBezTo>
                    <a:cubicBezTo>
                      <a:pt x="858" y="4615"/>
                      <a:pt x="864" y="4618"/>
                      <a:pt x="869" y="4620"/>
                    </a:cubicBezTo>
                    <a:cubicBezTo>
                      <a:pt x="853" y="6506"/>
                      <a:pt x="859" y="5878"/>
                      <a:pt x="853" y="6506"/>
                    </a:cubicBezTo>
                    <a:cubicBezTo>
                      <a:pt x="452" y="5174"/>
                      <a:pt x="586" y="5618"/>
                      <a:pt x="452" y="5174"/>
                    </a:cubicBezTo>
                    <a:cubicBezTo>
                      <a:pt x="470" y="5165"/>
                      <a:pt x="483" y="5146"/>
                      <a:pt x="483" y="5124"/>
                    </a:cubicBezTo>
                    <a:close/>
                    <a:moveTo>
                      <a:pt x="1291" y="7456"/>
                    </a:moveTo>
                    <a:lnTo>
                      <a:pt x="1291" y="7456"/>
                    </a:lnTo>
                    <a:cubicBezTo>
                      <a:pt x="1286" y="7456"/>
                      <a:pt x="1280" y="7457"/>
                      <a:pt x="1275" y="7459"/>
                    </a:cubicBezTo>
                    <a:cubicBezTo>
                      <a:pt x="914" y="6673"/>
                      <a:pt x="1035" y="6935"/>
                      <a:pt x="914" y="6673"/>
                    </a:cubicBezTo>
                    <a:cubicBezTo>
                      <a:pt x="926" y="6663"/>
                      <a:pt x="936" y="6649"/>
                      <a:pt x="939" y="6632"/>
                    </a:cubicBezTo>
                    <a:cubicBezTo>
                      <a:pt x="1652" y="6705"/>
                      <a:pt x="1415" y="6681"/>
                      <a:pt x="1652" y="6705"/>
                    </a:cubicBezTo>
                    <a:cubicBezTo>
                      <a:pt x="1652" y="6715"/>
                      <a:pt x="1656" y="6724"/>
                      <a:pt x="1662" y="6732"/>
                    </a:cubicBezTo>
                    <a:cubicBezTo>
                      <a:pt x="1303" y="7457"/>
                      <a:pt x="1423" y="7216"/>
                      <a:pt x="1303" y="7457"/>
                    </a:cubicBezTo>
                    <a:cubicBezTo>
                      <a:pt x="1299" y="7457"/>
                      <a:pt x="1295" y="7456"/>
                      <a:pt x="1291" y="7456"/>
                    </a:cubicBezTo>
                    <a:close/>
                    <a:moveTo>
                      <a:pt x="1330" y="7472"/>
                    </a:moveTo>
                    <a:lnTo>
                      <a:pt x="1330" y="7472"/>
                    </a:lnTo>
                    <a:cubicBezTo>
                      <a:pt x="1687" y="6751"/>
                      <a:pt x="1568" y="6992"/>
                      <a:pt x="1687" y="6751"/>
                    </a:cubicBezTo>
                    <a:cubicBezTo>
                      <a:pt x="1688" y="6751"/>
                      <a:pt x="1688" y="6751"/>
                      <a:pt x="1688" y="6751"/>
                    </a:cubicBezTo>
                    <a:cubicBezTo>
                      <a:pt x="1829" y="8034"/>
                      <a:pt x="1782" y="7607"/>
                      <a:pt x="1829" y="8034"/>
                    </a:cubicBezTo>
                    <a:cubicBezTo>
                      <a:pt x="1825" y="8035"/>
                      <a:pt x="1821" y="8037"/>
                      <a:pt x="1817" y="8040"/>
                    </a:cubicBezTo>
                    <a:cubicBezTo>
                      <a:pt x="1333" y="7549"/>
                      <a:pt x="1495" y="7713"/>
                      <a:pt x="1333" y="7549"/>
                    </a:cubicBezTo>
                    <a:cubicBezTo>
                      <a:pt x="1341" y="7539"/>
                      <a:pt x="1347" y="7526"/>
                      <a:pt x="1347" y="7512"/>
                    </a:cubicBezTo>
                    <a:cubicBezTo>
                      <a:pt x="1347" y="7496"/>
                      <a:pt x="1341" y="7482"/>
                      <a:pt x="1330" y="7472"/>
                    </a:cubicBezTo>
                    <a:close/>
                    <a:moveTo>
                      <a:pt x="1718" y="8290"/>
                    </a:moveTo>
                    <a:lnTo>
                      <a:pt x="1718" y="8290"/>
                    </a:lnTo>
                    <a:cubicBezTo>
                      <a:pt x="1828" y="8153"/>
                      <a:pt x="1792" y="8199"/>
                      <a:pt x="1828" y="8153"/>
                    </a:cubicBezTo>
                    <a:cubicBezTo>
                      <a:pt x="1835" y="8156"/>
                      <a:pt x="1844" y="8158"/>
                      <a:pt x="1852" y="8158"/>
                    </a:cubicBezTo>
                    <a:cubicBezTo>
                      <a:pt x="1867" y="8158"/>
                      <a:pt x="1881" y="8152"/>
                      <a:pt x="1892" y="8143"/>
                    </a:cubicBezTo>
                    <a:cubicBezTo>
                      <a:pt x="2293" y="8404"/>
                      <a:pt x="2160" y="8317"/>
                      <a:pt x="2293" y="8404"/>
                    </a:cubicBezTo>
                    <a:cubicBezTo>
                      <a:pt x="2329" y="8486"/>
                      <a:pt x="2317" y="8459"/>
                      <a:pt x="2329" y="8486"/>
                    </a:cubicBezTo>
                    <a:cubicBezTo>
                      <a:pt x="2329" y="8518"/>
                      <a:pt x="2329" y="8508"/>
                      <a:pt x="2329" y="8518"/>
                    </a:cubicBezTo>
                    <a:cubicBezTo>
                      <a:pt x="2342" y="8518"/>
                      <a:pt x="2338" y="8518"/>
                      <a:pt x="2342" y="8518"/>
                    </a:cubicBezTo>
                    <a:cubicBezTo>
                      <a:pt x="2353" y="8544"/>
                      <a:pt x="2350" y="8536"/>
                      <a:pt x="2353" y="8544"/>
                    </a:cubicBezTo>
                    <a:cubicBezTo>
                      <a:pt x="2320" y="8537"/>
                      <a:pt x="2331" y="8540"/>
                      <a:pt x="2320" y="8537"/>
                    </a:cubicBezTo>
                    <a:cubicBezTo>
                      <a:pt x="1727" y="8312"/>
                      <a:pt x="1925" y="8387"/>
                      <a:pt x="1727" y="8312"/>
                    </a:cubicBezTo>
                    <a:cubicBezTo>
                      <a:pt x="1727" y="8304"/>
                      <a:pt x="1723" y="8297"/>
                      <a:pt x="1718" y="8290"/>
                    </a:cubicBezTo>
                    <a:close/>
                    <a:moveTo>
                      <a:pt x="3567" y="8976"/>
                    </a:moveTo>
                    <a:lnTo>
                      <a:pt x="3567" y="8976"/>
                    </a:lnTo>
                    <a:cubicBezTo>
                      <a:pt x="3562" y="8976"/>
                      <a:pt x="3558" y="8977"/>
                      <a:pt x="3554" y="8977"/>
                    </a:cubicBezTo>
                    <a:cubicBezTo>
                      <a:pt x="3336" y="8303"/>
                      <a:pt x="3409" y="8528"/>
                      <a:pt x="3336" y="8303"/>
                    </a:cubicBezTo>
                    <a:cubicBezTo>
                      <a:pt x="3344" y="8299"/>
                      <a:pt x="3350" y="8293"/>
                      <a:pt x="3355" y="8287"/>
                    </a:cubicBezTo>
                    <a:cubicBezTo>
                      <a:pt x="4760" y="9122"/>
                      <a:pt x="4292" y="8844"/>
                      <a:pt x="4760" y="9122"/>
                    </a:cubicBezTo>
                    <a:cubicBezTo>
                      <a:pt x="4759" y="9123"/>
                      <a:pt x="4758" y="9124"/>
                      <a:pt x="4758" y="9126"/>
                    </a:cubicBezTo>
                    <a:cubicBezTo>
                      <a:pt x="3642" y="9046"/>
                      <a:pt x="4014" y="9073"/>
                      <a:pt x="3642" y="9046"/>
                    </a:cubicBezTo>
                    <a:cubicBezTo>
                      <a:pt x="3638" y="9007"/>
                      <a:pt x="3606" y="8976"/>
                      <a:pt x="3567" y="8976"/>
                    </a:cubicBezTo>
                    <a:close/>
                    <a:moveTo>
                      <a:pt x="5968" y="9327"/>
                    </a:moveTo>
                    <a:lnTo>
                      <a:pt x="5968" y="9327"/>
                    </a:lnTo>
                    <a:cubicBezTo>
                      <a:pt x="6155" y="8955"/>
                      <a:pt x="6093" y="9079"/>
                      <a:pt x="6155" y="8955"/>
                    </a:cubicBezTo>
                    <a:cubicBezTo>
                      <a:pt x="6167" y="8959"/>
                      <a:pt x="6179" y="8962"/>
                      <a:pt x="6192" y="8962"/>
                    </a:cubicBezTo>
                    <a:cubicBezTo>
                      <a:pt x="6249" y="8962"/>
                      <a:pt x="6295" y="8916"/>
                      <a:pt x="6295" y="8859"/>
                    </a:cubicBezTo>
                    <a:cubicBezTo>
                      <a:pt x="6295" y="8853"/>
                      <a:pt x="6294" y="8845"/>
                      <a:pt x="6293" y="8839"/>
                    </a:cubicBezTo>
                    <a:cubicBezTo>
                      <a:pt x="7330" y="8403"/>
                      <a:pt x="6985" y="8549"/>
                      <a:pt x="7330" y="8403"/>
                    </a:cubicBezTo>
                    <a:cubicBezTo>
                      <a:pt x="5973" y="9334"/>
                      <a:pt x="6426" y="9024"/>
                      <a:pt x="5973" y="9334"/>
                    </a:cubicBezTo>
                    <a:cubicBezTo>
                      <a:pt x="5971" y="9331"/>
                      <a:pt x="5969" y="9329"/>
                      <a:pt x="5968" y="9327"/>
                    </a:cubicBezTo>
                    <a:close/>
                    <a:moveTo>
                      <a:pt x="6281" y="8810"/>
                    </a:moveTo>
                    <a:lnTo>
                      <a:pt x="6281" y="8810"/>
                    </a:lnTo>
                    <a:cubicBezTo>
                      <a:pt x="6275" y="8800"/>
                      <a:pt x="6269" y="8791"/>
                      <a:pt x="6260" y="8783"/>
                    </a:cubicBezTo>
                    <a:cubicBezTo>
                      <a:pt x="6939" y="7803"/>
                      <a:pt x="6713" y="8130"/>
                      <a:pt x="6939" y="7803"/>
                    </a:cubicBezTo>
                    <a:cubicBezTo>
                      <a:pt x="6950" y="7807"/>
                      <a:pt x="6962" y="7810"/>
                      <a:pt x="6973" y="7810"/>
                    </a:cubicBezTo>
                    <a:cubicBezTo>
                      <a:pt x="6990" y="7810"/>
                      <a:pt x="7006" y="7805"/>
                      <a:pt x="7019" y="7797"/>
                    </a:cubicBezTo>
                    <a:cubicBezTo>
                      <a:pt x="7416" y="8293"/>
                      <a:pt x="7284" y="8128"/>
                      <a:pt x="7416" y="8293"/>
                    </a:cubicBezTo>
                    <a:cubicBezTo>
                      <a:pt x="7407" y="8304"/>
                      <a:pt x="7401" y="8318"/>
                      <a:pt x="7401" y="8333"/>
                    </a:cubicBezTo>
                    <a:cubicBezTo>
                      <a:pt x="7401" y="8335"/>
                      <a:pt x="7402" y="8337"/>
                      <a:pt x="7402" y="8339"/>
                    </a:cubicBezTo>
                    <a:cubicBezTo>
                      <a:pt x="7029" y="8496"/>
                      <a:pt x="6655" y="8653"/>
                      <a:pt x="6281" y="8810"/>
                    </a:cubicBezTo>
                    <a:close/>
                    <a:moveTo>
                      <a:pt x="7495" y="8277"/>
                    </a:moveTo>
                    <a:lnTo>
                      <a:pt x="7495" y="8277"/>
                    </a:lnTo>
                    <a:cubicBezTo>
                      <a:pt x="7486" y="8272"/>
                      <a:pt x="7476" y="8269"/>
                      <a:pt x="7465" y="8269"/>
                    </a:cubicBezTo>
                    <a:cubicBezTo>
                      <a:pt x="7457" y="8269"/>
                      <a:pt x="7449" y="8271"/>
                      <a:pt x="7441" y="8274"/>
                    </a:cubicBezTo>
                    <a:cubicBezTo>
                      <a:pt x="7042" y="7777"/>
                      <a:pt x="7175" y="7943"/>
                      <a:pt x="7042" y="7777"/>
                    </a:cubicBezTo>
                    <a:cubicBezTo>
                      <a:pt x="7054" y="7761"/>
                      <a:pt x="7062" y="7743"/>
                      <a:pt x="7062" y="7721"/>
                    </a:cubicBezTo>
                    <a:cubicBezTo>
                      <a:pt x="7062" y="7720"/>
                      <a:pt x="7062" y="7719"/>
                      <a:pt x="7062" y="7718"/>
                    </a:cubicBezTo>
                    <a:cubicBezTo>
                      <a:pt x="8327" y="7421"/>
                      <a:pt x="7905" y="7520"/>
                      <a:pt x="8327" y="7421"/>
                    </a:cubicBezTo>
                    <a:cubicBezTo>
                      <a:pt x="8329" y="7424"/>
                      <a:pt x="8331" y="7428"/>
                      <a:pt x="8333" y="7431"/>
                    </a:cubicBezTo>
                    <a:cubicBezTo>
                      <a:pt x="8054" y="7713"/>
                      <a:pt x="7774" y="7995"/>
                      <a:pt x="7495" y="8277"/>
                    </a:cubicBezTo>
                    <a:close/>
                    <a:moveTo>
                      <a:pt x="7055" y="7687"/>
                    </a:moveTo>
                    <a:lnTo>
                      <a:pt x="7055" y="7687"/>
                    </a:lnTo>
                    <a:cubicBezTo>
                      <a:pt x="7054" y="7685"/>
                      <a:pt x="7053" y="7683"/>
                      <a:pt x="7052" y="7680"/>
                    </a:cubicBezTo>
                    <a:cubicBezTo>
                      <a:pt x="8508" y="6482"/>
                      <a:pt x="8023" y="6882"/>
                      <a:pt x="8508" y="6482"/>
                    </a:cubicBezTo>
                    <a:cubicBezTo>
                      <a:pt x="8754" y="6296"/>
                      <a:pt x="8672" y="6358"/>
                      <a:pt x="8754" y="6296"/>
                    </a:cubicBezTo>
                    <a:cubicBezTo>
                      <a:pt x="8756" y="6297"/>
                      <a:pt x="8757" y="6298"/>
                      <a:pt x="8759" y="6299"/>
                    </a:cubicBezTo>
                    <a:cubicBezTo>
                      <a:pt x="8409" y="7311"/>
                      <a:pt x="8526" y="6974"/>
                      <a:pt x="8409" y="7311"/>
                    </a:cubicBezTo>
                    <a:cubicBezTo>
                      <a:pt x="8405" y="7310"/>
                      <a:pt x="8402" y="7309"/>
                      <a:pt x="8398" y="7309"/>
                    </a:cubicBezTo>
                    <a:cubicBezTo>
                      <a:pt x="8355" y="7309"/>
                      <a:pt x="8320" y="7344"/>
                      <a:pt x="8320" y="7388"/>
                    </a:cubicBezTo>
                    <a:cubicBezTo>
                      <a:pt x="8320" y="7389"/>
                      <a:pt x="8320" y="7389"/>
                      <a:pt x="8320" y="7390"/>
                    </a:cubicBezTo>
                    <a:cubicBezTo>
                      <a:pt x="7898" y="7489"/>
                      <a:pt x="7477" y="7588"/>
                      <a:pt x="7055" y="7687"/>
                    </a:cubicBezTo>
                    <a:close/>
                    <a:moveTo>
                      <a:pt x="8439" y="7317"/>
                    </a:moveTo>
                    <a:lnTo>
                      <a:pt x="8439" y="7317"/>
                    </a:lnTo>
                    <a:cubicBezTo>
                      <a:pt x="8788" y="6310"/>
                      <a:pt x="8672" y="6646"/>
                      <a:pt x="8788" y="6310"/>
                    </a:cubicBezTo>
                    <a:cubicBezTo>
                      <a:pt x="8792" y="6310"/>
                      <a:pt x="8796" y="6311"/>
                      <a:pt x="8800" y="6311"/>
                    </a:cubicBezTo>
                    <a:cubicBezTo>
                      <a:pt x="8829" y="6311"/>
                      <a:pt x="8854" y="6295"/>
                      <a:pt x="8868" y="6272"/>
                    </a:cubicBezTo>
                    <a:cubicBezTo>
                      <a:pt x="9233" y="6352"/>
                      <a:pt x="9111" y="6326"/>
                      <a:pt x="9233" y="6352"/>
                    </a:cubicBezTo>
                    <a:cubicBezTo>
                      <a:pt x="9235" y="6367"/>
                      <a:pt x="9241" y="6380"/>
                      <a:pt x="9250" y="6391"/>
                    </a:cubicBezTo>
                    <a:cubicBezTo>
                      <a:pt x="8980" y="6700"/>
                      <a:pt x="8709" y="7009"/>
                      <a:pt x="8439" y="7317"/>
                    </a:cubicBezTo>
                    <a:close/>
                    <a:moveTo>
                      <a:pt x="9236" y="6321"/>
                    </a:moveTo>
                    <a:lnTo>
                      <a:pt x="9236" y="6321"/>
                    </a:lnTo>
                    <a:cubicBezTo>
                      <a:pt x="8878" y="6242"/>
                      <a:pt x="8997" y="6269"/>
                      <a:pt x="8878" y="6242"/>
                    </a:cubicBezTo>
                    <a:cubicBezTo>
                      <a:pt x="8878" y="6239"/>
                      <a:pt x="8879" y="6236"/>
                      <a:pt x="8879" y="6232"/>
                    </a:cubicBezTo>
                    <a:cubicBezTo>
                      <a:pt x="8879" y="6212"/>
                      <a:pt x="8871" y="6193"/>
                      <a:pt x="8858" y="6179"/>
                    </a:cubicBezTo>
                    <a:cubicBezTo>
                      <a:pt x="9354" y="5146"/>
                      <a:pt x="9189" y="5491"/>
                      <a:pt x="9354" y="5146"/>
                    </a:cubicBezTo>
                    <a:cubicBezTo>
                      <a:pt x="9294" y="6268"/>
                      <a:pt x="9314" y="5894"/>
                      <a:pt x="9294" y="6268"/>
                    </a:cubicBezTo>
                    <a:cubicBezTo>
                      <a:pt x="9266" y="6274"/>
                      <a:pt x="9244" y="6294"/>
                      <a:pt x="9236" y="6321"/>
                    </a:cubicBezTo>
                    <a:close/>
                    <a:moveTo>
                      <a:pt x="8840" y="6144"/>
                    </a:moveTo>
                    <a:lnTo>
                      <a:pt x="8840" y="6144"/>
                    </a:lnTo>
                    <a:cubicBezTo>
                      <a:pt x="9297" y="4238"/>
                      <a:pt x="9145" y="4873"/>
                      <a:pt x="9297" y="4238"/>
                    </a:cubicBezTo>
                    <a:cubicBezTo>
                      <a:pt x="9352" y="4992"/>
                      <a:pt x="9334" y="4741"/>
                      <a:pt x="9352" y="4992"/>
                    </a:cubicBezTo>
                    <a:cubicBezTo>
                      <a:pt x="9322" y="5003"/>
                      <a:pt x="9301" y="5031"/>
                      <a:pt x="9301" y="5065"/>
                    </a:cubicBezTo>
                    <a:cubicBezTo>
                      <a:pt x="9301" y="5089"/>
                      <a:pt x="9313" y="5110"/>
                      <a:pt x="9330" y="5124"/>
                    </a:cubicBezTo>
                    <a:cubicBezTo>
                      <a:pt x="9167" y="5464"/>
                      <a:pt x="9003" y="5804"/>
                      <a:pt x="8840" y="6144"/>
                    </a:cubicBezTo>
                    <a:close/>
                    <a:moveTo>
                      <a:pt x="9408" y="4994"/>
                    </a:moveTo>
                    <a:lnTo>
                      <a:pt x="9408" y="4994"/>
                    </a:lnTo>
                    <a:cubicBezTo>
                      <a:pt x="9562" y="4371"/>
                      <a:pt x="9511" y="4579"/>
                      <a:pt x="9562" y="4371"/>
                    </a:cubicBezTo>
                    <a:cubicBezTo>
                      <a:pt x="9555" y="5426"/>
                      <a:pt x="9557" y="5075"/>
                      <a:pt x="9555" y="5426"/>
                    </a:cubicBezTo>
                    <a:cubicBezTo>
                      <a:pt x="9419" y="5129"/>
                      <a:pt x="9464" y="5228"/>
                      <a:pt x="9419" y="5129"/>
                    </a:cubicBezTo>
                    <a:cubicBezTo>
                      <a:pt x="9441" y="5116"/>
                      <a:pt x="9455" y="5092"/>
                      <a:pt x="9455" y="5065"/>
                    </a:cubicBezTo>
                    <a:cubicBezTo>
                      <a:pt x="9455" y="5032"/>
                      <a:pt x="9436" y="5006"/>
                      <a:pt x="9408" y="4994"/>
                    </a:cubicBezTo>
                    <a:close/>
                    <a:moveTo>
                      <a:pt x="9346" y="3442"/>
                    </a:moveTo>
                    <a:lnTo>
                      <a:pt x="9346" y="3442"/>
                    </a:lnTo>
                    <a:cubicBezTo>
                      <a:pt x="9164" y="3136"/>
                      <a:pt x="9225" y="3238"/>
                      <a:pt x="9164" y="3136"/>
                    </a:cubicBezTo>
                    <a:cubicBezTo>
                      <a:pt x="9167" y="3130"/>
                      <a:pt x="9168" y="3122"/>
                      <a:pt x="9168" y="3114"/>
                    </a:cubicBezTo>
                    <a:cubicBezTo>
                      <a:pt x="9168" y="3088"/>
                      <a:pt x="9150" y="3066"/>
                      <a:pt x="9125" y="3060"/>
                    </a:cubicBezTo>
                    <a:cubicBezTo>
                      <a:pt x="8920" y="2327"/>
                      <a:pt x="8988" y="2571"/>
                      <a:pt x="8920" y="2327"/>
                    </a:cubicBezTo>
                    <a:cubicBezTo>
                      <a:pt x="9062" y="2698"/>
                      <a:pt x="9204" y="3070"/>
                      <a:pt x="9346" y="3442"/>
                    </a:cubicBezTo>
                    <a:close/>
                    <a:moveTo>
                      <a:pt x="9081" y="3022"/>
                    </a:moveTo>
                    <a:lnTo>
                      <a:pt x="9081" y="3022"/>
                    </a:lnTo>
                    <a:cubicBezTo>
                      <a:pt x="8489" y="2289"/>
                      <a:pt x="8686" y="2533"/>
                      <a:pt x="8489" y="2289"/>
                    </a:cubicBezTo>
                    <a:cubicBezTo>
                      <a:pt x="8512" y="2258"/>
                      <a:pt x="8525" y="2220"/>
                      <a:pt x="8525" y="2179"/>
                    </a:cubicBezTo>
                    <a:cubicBezTo>
                      <a:pt x="8525" y="2164"/>
                      <a:pt x="8523" y="2149"/>
                      <a:pt x="8519" y="2135"/>
                    </a:cubicBezTo>
                    <a:cubicBezTo>
                      <a:pt x="8748" y="2047"/>
                      <a:pt x="8672" y="2076"/>
                      <a:pt x="8748" y="2047"/>
                    </a:cubicBezTo>
                    <a:cubicBezTo>
                      <a:pt x="8757" y="2074"/>
                      <a:pt x="8783" y="2095"/>
                      <a:pt x="8813" y="2095"/>
                    </a:cubicBezTo>
                    <a:cubicBezTo>
                      <a:pt x="8816" y="2095"/>
                      <a:pt x="8819" y="2094"/>
                      <a:pt x="8822" y="2094"/>
                    </a:cubicBezTo>
                    <a:cubicBezTo>
                      <a:pt x="8908" y="2403"/>
                      <a:pt x="8995" y="2712"/>
                      <a:pt x="9081" y="3022"/>
                    </a:cubicBezTo>
                    <a:close/>
                    <a:moveTo>
                      <a:pt x="8746" y="2014"/>
                    </a:moveTo>
                    <a:lnTo>
                      <a:pt x="8746" y="2014"/>
                    </a:lnTo>
                    <a:cubicBezTo>
                      <a:pt x="8510" y="2105"/>
                      <a:pt x="8589" y="2074"/>
                      <a:pt x="8510" y="2105"/>
                    </a:cubicBezTo>
                    <a:cubicBezTo>
                      <a:pt x="8481" y="2040"/>
                      <a:pt x="8417" y="1994"/>
                      <a:pt x="8342" y="1993"/>
                    </a:cubicBezTo>
                    <a:cubicBezTo>
                      <a:pt x="8338" y="1553"/>
                      <a:pt x="8339" y="1699"/>
                      <a:pt x="8338" y="1553"/>
                    </a:cubicBezTo>
                    <a:cubicBezTo>
                      <a:pt x="8351" y="1551"/>
                      <a:pt x="8363" y="1546"/>
                      <a:pt x="8373" y="1538"/>
                    </a:cubicBezTo>
                    <a:cubicBezTo>
                      <a:pt x="8766" y="1976"/>
                      <a:pt x="8635" y="1830"/>
                      <a:pt x="8766" y="1976"/>
                    </a:cubicBezTo>
                    <a:cubicBezTo>
                      <a:pt x="8756" y="1986"/>
                      <a:pt x="8748" y="1999"/>
                      <a:pt x="8746" y="2014"/>
                    </a:cubicBezTo>
                    <a:close/>
                    <a:moveTo>
                      <a:pt x="7450" y="853"/>
                    </a:moveTo>
                    <a:lnTo>
                      <a:pt x="7450" y="853"/>
                    </a:lnTo>
                    <a:cubicBezTo>
                      <a:pt x="7506" y="1434"/>
                      <a:pt x="7487" y="1240"/>
                      <a:pt x="7506" y="1434"/>
                    </a:cubicBezTo>
                    <a:cubicBezTo>
                      <a:pt x="7496" y="1436"/>
                      <a:pt x="7488" y="1440"/>
                      <a:pt x="7480" y="1446"/>
                    </a:cubicBezTo>
                    <a:cubicBezTo>
                      <a:pt x="6820" y="759"/>
                      <a:pt x="7040" y="988"/>
                      <a:pt x="6820" y="759"/>
                    </a:cubicBezTo>
                    <a:cubicBezTo>
                      <a:pt x="6826" y="752"/>
                      <a:pt x="6830" y="743"/>
                      <a:pt x="6833" y="734"/>
                    </a:cubicBezTo>
                    <a:cubicBezTo>
                      <a:pt x="7402" y="770"/>
                      <a:pt x="7212" y="758"/>
                      <a:pt x="7402" y="770"/>
                    </a:cubicBezTo>
                    <a:cubicBezTo>
                      <a:pt x="7402" y="772"/>
                      <a:pt x="7401" y="775"/>
                      <a:pt x="7401" y="778"/>
                    </a:cubicBezTo>
                    <a:cubicBezTo>
                      <a:pt x="7401" y="811"/>
                      <a:pt x="7421" y="840"/>
                      <a:pt x="7450" y="853"/>
                    </a:cubicBezTo>
                    <a:close/>
                    <a:moveTo>
                      <a:pt x="7357" y="735"/>
                    </a:moveTo>
                    <a:lnTo>
                      <a:pt x="7357" y="735"/>
                    </a:lnTo>
                    <a:cubicBezTo>
                      <a:pt x="6836" y="704"/>
                      <a:pt x="7010" y="714"/>
                      <a:pt x="6836" y="704"/>
                    </a:cubicBezTo>
                    <a:cubicBezTo>
                      <a:pt x="6830" y="671"/>
                      <a:pt x="6802" y="646"/>
                      <a:pt x="6768" y="646"/>
                    </a:cubicBezTo>
                    <a:cubicBezTo>
                      <a:pt x="6746" y="646"/>
                      <a:pt x="6727" y="656"/>
                      <a:pt x="6714" y="673"/>
                    </a:cubicBezTo>
                    <a:cubicBezTo>
                      <a:pt x="5812" y="138"/>
                      <a:pt x="6113" y="316"/>
                      <a:pt x="5812" y="138"/>
                    </a:cubicBezTo>
                    <a:cubicBezTo>
                      <a:pt x="6327" y="337"/>
                      <a:pt x="6842" y="536"/>
                      <a:pt x="7357" y="735"/>
                    </a:cubicBezTo>
                    <a:close/>
                    <a:moveTo>
                      <a:pt x="6664" y="679"/>
                    </a:moveTo>
                    <a:lnTo>
                      <a:pt x="6664" y="679"/>
                    </a:lnTo>
                    <a:cubicBezTo>
                      <a:pt x="5775" y="486"/>
                      <a:pt x="6072" y="550"/>
                      <a:pt x="5775" y="486"/>
                    </a:cubicBezTo>
                    <a:cubicBezTo>
                      <a:pt x="5774" y="463"/>
                      <a:pt x="5757" y="445"/>
                      <a:pt x="5735" y="441"/>
                    </a:cubicBezTo>
                    <a:cubicBezTo>
                      <a:pt x="5674" y="134"/>
                      <a:pt x="5695" y="236"/>
                      <a:pt x="5674" y="134"/>
                    </a:cubicBezTo>
                    <a:cubicBezTo>
                      <a:pt x="5687" y="130"/>
                      <a:pt x="5699" y="122"/>
                      <a:pt x="5708" y="112"/>
                    </a:cubicBezTo>
                    <a:cubicBezTo>
                      <a:pt x="6027" y="301"/>
                      <a:pt x="6346" y="490"/>
                      <a:pt x="6664" y="679"/>
                    </a:cubicBezTo>
                    <a:close/>
                    <a:moveTo>
                      <a:pt x="5488" y="75"/>
                    </a:moveTo>
                    <a:lnTo>
                      <a:pt x="5488" y="75"/>
                    </a:lnTo>
                    <a:cubicBezTo>
                      <a:pt x="4614" y="278"/>
                      <a:pt x="4906" y="210"/>
                      <a:pt x="4614" y="278"/>
                    </a:cubicBezTo>
                    <a:cubicBezTo>
                      <a:pt x="4601" y="253"/>
                      <a:pt x="4575" y="235"/>
                      <a:pt x="4543" y="235"/>
                    </a:cubicBezTo>
                    <a:cubicBezTo>
                      <a:pt x="4512" y="235"/>
                      <a:pt x="4486" y="252"/>
                      <a:pt x="4472" y="278"/>
                    </a:cubicBezTo>
                    <a:cubicBezTo>
                      <a:pt x="3884" y="119"/>
                      <a:pt x="4080" y="172"/>
                      <a:pt x="3884" y="119"/>
                    </a:cubicBezTo>
                    <a:cubicBezTo>
                      <a:pt x="4419" y="104"/>
                      <a:pt x="4954" y="89"/>
                      <a:pt x="5488" y="75"/>
                    </a:cubicBezTo>
                    <a:close/>
                    <a:moveTo>
                      <a:pt x="3684" y="161"/>
                    </a:moveTo>
                    <a:lnTo>
                      <a:pt x="3684" y="161"/>
                    </a:lnTo>
                    <a:cubicBezTo>
                      <a:pt x="2690" y="951"/>
                      <a:pt x="3022" y="687"/>
                      <a:pt x="2690" y="951"/>
                    </a:cubicBezTo>
                    <a:cubicBezTo>
                      <a:pt x="2679" y="945"/>
                      <a:pt x="2666" y="941"/>
                      <a:pt x="2652" y="941"/>
                    </a:cubicBezTo>
                    <a:cubicBezTo>
                      <a:pt x="2634" y="941"/>
                      <a:pt x="2618" y="948"/>
                      <a:pt x="2604" y="958"/>
                    </a:cubicBezTo>
                    <a:cubicBezTo>
                      <a:pt x="2283" y="748"/>
                      <a:pt x="2390" y="818"/>
                      <a:pt x="2283" y="748"/>
                    </a:cubicBezTo>
                    <a:cubicBezTo>
                      <a:pt x="2283" y="744"/>
                      <a:pt x="2284" y="740"/>
                      <a:pt x="2284" y="736"/>
                    </a:cubicBezTo>
                    <a:cubicBezTo>
                      <a:pt x="2284" y="732"/>
                      <a:pt x="2284" y="729"/>
                      <a:pt x="2283" y="726"/>
                    </a:cubicBezTo>
                    <a:cubicBezTo>
                      <a:pt x="2750" y="537"/>
                      <a:pt x="3217" y="349"/>
                      <a:pt x="3684" y="161"/>
                    </a:cubicBezTo>
                    <a:close/>
                    <a:moveTo>
                      <a:pt x="2196" y="781"/>
                    </a:moveTo>
                    <a:lnTo>
                      <a:pt x="2196" y="781"/>
                    </a:lnTo>
                    <a:cubicBezTo>
                      <a:pt x="2205" y="787"/>
                      <a:pt x="2216" y="792"/>
                      <a:pt x="2228" y="792"/>
                    </a:cubicBezTo>
                    <a:cubicBezTo>
                      <a:pt x="2243" y="792"/>
                      <a:pt x="2257" y="785"/>
                      <a:pt x="2267" y="775"/>
                    </a:cubicBezTo>
                    <a:cubicBezTo>
                      <a:pt x="2584" y="982"/>
                      <a:pt x="2479" y="913"/>
                      <a:pt x="2584" y="982"/>
                    </a:cubicBezTo>
                    <a:cubicBezTo>
                      <a:pt x="2580" y="991"/>
                      <a:pt x="2577" y="1001"/>
                      <a:pt x="2576" y="1010"/>
                    </a:cubicBezTo>
                    <a:cubicBezTo>
                      <a:pt x="1584" y="1311"/>
                      <a:pt x="1915" y="1210"/>
                      <a:pt x="1584" y="1311"/>
                    </a:cubicBezTo>
                    <a:cubicBezTo>
                      <a:pt x="1788" y="1134"/>
                      <a:pt x="1992" y="957"/>
                      <a:pt x="2196" y="781"/>
                    </a:cubicBezTo>
                    <a:close/>
                    <a:moveTo>
                      <a:pt x="549" y="2682"/>
                    </a:moveTo>
                    <a:lnTo>
                      <a:pt x="549" y="2682"/>
                    </a:lnTo>
                    <a:cubicBezTo>
                      <a:pt x="578" y="2681"/>
                      <a:pt x="600" y="2658"/>
                      <a:pt x="602" y="2630"/>
                    </a:cubicBezTo>
                    <a:cubicBezTo>
                      <a:pt x="895" y="2582"/>
                      <a:pt x="798" y="2598"/>
                      <a:pt x="895" y="2582"/>
                    </a:cubicBezTo>
                    <a:cubicBezTo>
                      <a:pt x="900" y="2594"/>
                      <a:pt x="907" y="2604"/>
                      <a:pt x="916" y="2612"/>
                    </a:cubicBezTo>
                    <a:cubicBezTo>
                      <a:pt x="210" y="3765"/>
                      <a:pt x="446" y="3380"/>
                      <a:pt x="210" y="3765"/>
                    </a:cubicBezTo>
                    <a:cubicBezTo>
                      <a:pt x="323" y="3404"/>
                      <a:pt x="436" y="3043"/>
                      <a:pt x="549" y="2682"/>
                    </a:cubicBezTo>
                    <a:close/>
                    <a:moveTo>
                      <a:pt x="493" y="6580"/>
                    </a:moveTo>
                    <a:lnTo>
                      <a:pt x="493" y="6580"/>
                    </a:lnTo>
                    <a:cubicBezTo>
                      <a:pt x="795" y="6616"/>
                      <a:pt x="695" y="6604"/>
                      <a:pt x="795" y="6616"/>
                    </a:cubicBezTo>
                    <a:cubicBezTo>
                      <a:pt x="795" y="6617"/>
                      <a:pt x="795" y="6617"/>
                      <a:pt x="795" y="6618"/>
                    </a:cubicBezTo>
                    <a:cubicBezTo>
                      <a:pt x="795" y="6645"/>
                      <a:pt x="811" y="6669"/>
                      <a:pt x="833" y="6681"/>
                    </a:cubicBezTo>
                    <a:cubicBezTo>
                      <a:pt x="732" y="7072"/>
                      <a:pt x="766" y="6942"/>
                      <a:pt x="732" y="7072"/>
                    </a:cubicBezTo>
                    <a:cubicBezTo>
                      <a:pt x="727" y="7073"/>
                      <a:pt x="721" y="7074"/>
                      <a:pt x="717" y="7075"/>
                    </a:cubicBezTo>
                    <a:cubicBezTo>
                      <a:pt x="477" y="6598"/>
                      <a:pt x="557" y="6757"/>
                      <a:pt x="477" y="6598"/>
                    </a:cubicBezTo>
                    <a:cubicBezTo>
                      <a:pt x="484" y="6593"/>
                      <a:pt x="489" y="6587"/>
                      <a:pt x="493" y="6580"/>
                    </a:cubicBezTo>
                    <a:close/>
                    <a:moveTo>
                      <a:pt x="812" y="7215"/>
                    </a:moveTo>
                    <a:lnTo>
                      <a:pt x="812" y="7215"/>
                    </a:lnTo>
                    <a:cubicBezTo>
                      <a:pt x="1236" y="7508"/>
                      <a:pt x="1095" y="7411"/>
                      <a:pt x="1236" y="7508"/>
                    </a:cubicBezTo>
                    <a:cubicBezTo>
                      <a:pt x="1236" y="7510"/>
                      <a:pt x="1236" y="7511"/>
                      <a:pt x="1236" y="7512"/>
                    </a:cubicBezTo>
                    <a:cubicBezTo>
                      <a:pt x="1236" y="7543"/>
                      <a:pt x="1261" y="7567"/>
                      <a:pt x="1291" y="7567"/>
                    </a:cubicBezTo>
                    <a:cubicBezTo>
                      <a:pt x="1603" y="8191"/>
                      <a:pt x="1499" y="7983"/>
                      <a:pt x="1603" y="8191"/>
                    </a:cubicBezTo>
                    <a:cubicBezTo>
                      <a:pt x="1340" y="7866"/>
                      <a:pt x="1076" y="7541"/>
                      <a:pt x="812" y="7215"/>
                    </a:cubicBezTo>
                    <a:close/>
                    <a:moveTo>
                      <a:pt x="1816" y="8380"/>
                    </a:moveTo>
                    <a:lnTo>
                      <a:pt x="1816" y="8380"/>
                    </a:lnTo>
                    <a:cubicBezTo>
                      <a:pt x="2311" y="8567"/>
                      <a:pt x="2146" y="8505"/>
                      <a:pt x="2311" y="8567"/>
                    </a:cubicBezTo>
                    <a:cubicBezTo>
                      <a:pt x="2363" y="8577"/>
                      <a:pt x="2346" y="8574"/>
                      <a:pt x="2363" y="8577"/>
                    </a:cubicBezTo>
                    <a:cubicBezTo>
                      <a:pt x="2742" y="8972"/>
                      <a:pt x="2616" y="8841"/>
                      <a:pt x="2742" y="8972"/>
                    </a:cubicBezTo>
                    <a:cubicBezTo>
                      <a:pt x="2434" y="8775"/>
                      <a:pt x="2125" y="8578"/>
                      <a:pt x="1816" y="8380"/>
                    </a:cubicBezTo>
                    <a:close/>
                    <a:moveTo>
                      <a:pt x="2947" y="9072"/>
                    </a:moveTo>
                    <a:lnTo>
                      <a:pt x="2947" y="9072"/>
                    </a:lnTo>
                    <a:cubicBezTo>
                      <a:pt x="3494" y="9072"/>
                      <a:pt x="3312" y="9072"/>
                      <a:pt x="3494" y="9072"/>
                    </a:cubicBezTo>
                    <a:cubicBezTo>
                      <a:pt x="3502" y="9104"/>
                      <a:pt x="3531" y="9128"/>
                      <a:pt x="3567" y="9128"/>
                    </a:cubicBezTo>
                    <a:cubicBezTo>
                      <a:pt x="3584" y="9128"/>
                      <a:pt x="3600" y="9122"/>
                      <a:pt x="3613" y="9111"/>
                    </a:cubicBezTo>
                    <a:cubicBezTo>
                      <a:pt x="4039" y="9414"/>
                      <a:pt x="3897" y="9313"/>
                      <a:pt x="4039" y="9414"/>
                    </a:cubicBezTo>
                    <a:cubicBezTo>
                      <a:pt x="3675" y="9300"/>
                      <a:pt x="3311" y="9186"/>
                      <a:pt x="2947" y="9072"/>
                    </a:cubicBezTo>
                    <a:close/>
                    <a:moveTo>
                      <a:pt x="4211" y="9439"/>
                    </a:moveTo>
                    <a:lnTo>
                      <a:pt x="4211" y="9439"/>
                    </a:lnTo>
                    <a:cubicBezTo>
                      <a:pt x="4763" y="9200"/>
                      <a:pt x="4579" y="9280"/>
                      <a:pt x="4763" y="9200"/>
                    </a:cubicBezTo>
                    <a:cubicBezTo>
                      <a:pt x="4779" y="9232"/>
                      <a:pt x="4812" y="9255"/>
                      <a:pt x="4851" y="9255"/>
                    </a:cubicBezTo>
                    <a:cubicBezTo>
                      <a:pt x="4880" y="9255"/>
                      <a:pt x="4906" y="9242"/>
                      <a:pt x="4924" y="9221"/>
                    </a:cubicBezTo>
                    <a:cubicBezTo>
                      <a:pt x="5777" y="9378"/>
                      <a:pt x="5493" y="9326"/>
                      <a:pt x="5777" y="9378"/>
                    </a:cubicBezTo>
                    <a:cubicBezTo>
                      <a:pt x="5255" y="9398"/>
                      <a:pt x="4733" y="9419"/>
                      <a:pt x="4211" y="9439"/>
                    </a:cubicBezTo>
                    <a:close/>
                    <a:moveTo>
                      <a:pt x="7420" y="8379"/>
                    </a:moveTo>
                    <a:lnTo>
                      <a:pt x="7420" y="8379"/>
                    </a:lnTo>
                    <a:cubicBezTo>
                      <a:pt x="7431" y="8390"/>
                      <a:pt x="7448" y="8397"/>
                      <a:pt x="7465" y="8397"/>
                    </a:cubicBezTo>
                    <a:cubicBezTo>
                      <a:pt x="7479" y="8397"/>
                      <a:pt x="7491" y="8394"/>
                      <a:pt x="7501" y="8387"/>
                    </a:cubicBezTo>
                    <a:cubicBezTo>
                      <a:pt x="7635" y="8521"/>
                      <a:pt x="7590" y="8477"/>
                      <a:pt x="7635" y="8521"/>
                    </a:cubicBezTo>
                    <a:cubicBezTo>
                      <a:pt x="7631" y="8529"/>
                      <a:pt x="7628" y="8537"/>
                      <a:pt x="7628" y="8547"/>
                    </a:cubicBezTo>
                    <a:cubicBezTo>
                      <a:pt x="7628" y="8552"/>
                      <a:pt x="7629" y="8557"/>
                      <a:pt x="7630" y="8562"/>
                    </a:cubicBezTo>
                    <a:cubicBezTo>
                      <a:pt x="6090" y="9290"/>
                      <a:pt x="6604" y="9047"/>
                      <a:pt x="6090" y="9290"/>
                    </a:cubicBezTo>
                    <a:cubicBezTo>
                      <a:pt x="6534" y="8986"/>
                      <a:pt x="6977" y="8683"/>
                      <a:pt x="7420" y="8379"/>
                    </a:cubicBezTo>
                    <a:close/>
                    <a:moveTo>
                      <a:pt x="7716" y="8502"/>
                    </a:moveTo>
                    <a:lnTo>
                      <a:pt x="7716" y="8502"/>
                    </a:lnTo>
                    <a:cubicBezTo>
                      <a:pt x="7707" y="8496"/>
                      <a:pt x="7696" y="8491"/>
                      <a:pt x="7683" y="8491"/>
                    </a:cubicBezTo>
                    <a:cubicBezTo>
                      <a:pt x="7674" y="8491"/>
                      <a:pt x="7665" y="8494"/>
                      <a:pt x="7657" y="8498"/>
                    </a:cubicBezTo>
                    <a:cubicBezTo>
                      <a:pt x="7522" y="8363"/>
                      <a:pt x="7567" y="8408"/>
                      <a:pt x="7522" y="8363"/>
                    </a:cubicBezTo>
                    <a:cubicBezTo>
                      <a:pt x="7526" y="8354"/>
                      <a:pt x="7530" y="8344"/>
                      <a:pt x="7530" y="8333"/>
                    </a:cubicBezTo>
                    <a:cubicBezTo>
                      <a:pt x="7530" y="8326"/>
                      <a:pt x="7528" y="8318"/>
                      <a:pt x="7526" y="8311"/>
                    </a:cubicBezTo>
                    <a:cubicBezTo>
                      <a:pt x="8484" y="7741"/>
                      <a:pt x="8165" y="7931"/>
                      <a:pt x="8484" y="7741"/>
                    </a:cubicBezTo>
                    <a:cubicBezTo>
                      <a:pt x="8228" y="7995"/>
                      <a:pt x="7972" y="8249"/>
                      <a:pt x="7716" y="8502"/>
                    </a:cubicBezTo>
                    <a:close/>
                    <a:moveTo>
                      <a:pt x="8603" y="7599"/>
                    </a:moveTo>
                    <a:lnTo>
                      <a:pt x="8603" y="7599"/>
                    </a:lnTo>
                    <a:cubicBezTo>
                      <a:pt x="8599" y="7598"/>
                      <a:pt x="8595" y="7598"/>
                      <a:pt x="8591" y="7598"/>
                    </a:cubicBezTo>
                    <a:cubicBezTo>
                      <a:pt x="8560" y="7598"/>
                      <a:pt x="8535" y="7622"/>
                      <a:pt x="8535" y="7653"/>
                    </a:cubicBezTo>
                    <a:cubicBezTo>
                      <a:pt x="8535" y="7660"/>
                      <a:pt x="8536" y="7666"/>
                      <a:pt x="8539" y="7672"/>
                    </a:cubicBezTo>
                    <a:cubicBezTo>
                      <a:pt x="7563" y="8253"/>
                      <a:pt x="7888" y="8060"/>
                      <a:pt x="7563" y="8253"/>
                    </a:cubicBezTo>
                    <a:cubicBezTo>
                      <a:pt x="8356" y="7453"/>
                      <a:pt x="8092" y="7720"/>
                      <a:pt x="8356" y="7453"/>
                    </a:cubicBezTo>
                    <a:cubicBezTo>
                      <a:pt x="8368" y="7461"/>
                      <a:pt x="8382" y="7466"/>
                      <a:pt x="8398" y="7466"/>
                    </a:cubicBezTo>
                    <a:cubicBezTo>
                      <a:pt x="8442" y="7466"/>
                      <a:pt x="8477" y="7431"/>
                      <a:pt x="8477" y="7388"/>
                    </a:cubicBezTo>
                    <a:cubicBezTo>
                      <a:pt x="8477" y="7370"/>
                      <a:pt x="8470" y="7354"/>
                      <a:pt x="8460" y="7340"/>
                    </a:cubicBezTo>
                    <a:cubicBezTo>
                      <a:pt x="9223" y="6471"/>
                      <a:pt x="8969" y="6761"/>
                      <a:pt x="9223" y="6471"/>
                    </a:cubicBezTo>
                    <a:cubicBezTo>
                      <a:pt x="9016" y="6847"/>
                      <a:pt x="8810" y="7223"/>
                      <a:pt x="8603" y="7599"/>
                    </a:cubicBezTo>
                    <a:close/>
                    <a:moveTo>
                      <a:pt x="9328" y="6228"/>
                    </a:moveTo>
                    <a:lnTo>
                      <a:pt x="9328" y="6228"/>
                    </a:lnTo>
                    <a:cubicBezTo>
                      <a:pt x="9386" y="5140"/>
                      <a:pt x="9367" y="5503"/>
                      <a:pt x="9386" y="5140"/>
                    </a:cubicBezTo>
                    <a:cubicBezTo>
                      <a:pt x="9387" y="5140"/>
                      <a:pt x="9388" y="5140"/>
                      <a:pt x="9390" y="5140"/>
                    </a:cubicBezTo>
                    <a:cubicBezTo>
                      <a:pt x="9529" y="5443"/>
                      <a:pt x="9483" y="5342"/>
                      <a:pt x="9529" y="5443"/>
                    </a:cubicBezTo>
                    <a:cubicBezTo>
                      <a:pt x="9510" y="5456"/>
                      <a:pt x="9498" y="5477"/>
                      <a:pt x="9498" y="5501"/>
                    </a:cubicBezTo>
                    <a:cubicBezTo>
                      <a:pt x="9498" y="5527"/>
                      <a:pt x="9513" y="5549"/>
                      <a:pt x="9534" y="5561"/>
                    </a:cubicBezTo>
                    <a:cubicBezTo>
                      <a:pt x="9465" y="5784"/>
                      <a:pt x="9397" y="6006"/>
                      <a:pt x="9328" y="6228"/>
                    </a:cubicBezTo>
                    <a:close/>
                  </a:path>
                </a:pathLst>
              </a:custGeom>
              <a:solidFill>
                <a:srgbClr val="808184">
                  <a:alpha val="70195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18" name="Группа 17"/>
            <p:cNvGrpSpPr/>
            <p:nvPr/>
          </p:nvGrpSpPr>
          <p:grpSpPr>
            <a:xfrm>
              <a:off x="3684555" y="3789040"/>
              <a:ext cx="487363" cy="487363"/>
              <a:chOff x="617539" y="2174052"/>
              <a:chExt cx="487363" cy="487363"/>
            </a:xfrm>
          </p:grpSpPr>
          <p:sp>
            <p:nvSpPr>
              <p:cNvPr id="86" name="Freeform 204"/>
              <p:cNvSpPr>
                <a:spLocks noChangeArrowheads="1"/>
              </p:cNvSpPr>
              <p:nvPr/>
            </p:nvSpPr>
            <p:spPr bwMode="auto">
              <a:xfrm>
                <a:off x="681039" y="2386777"/>
                <a:ext cx="46038" cy="22225"/>
              </a:xfrm>
              <a:custGeom>
                <a:avLst/>
                <a:gdLst>
                  <a:gd name="T0" fmla="*/ 0 w 133"/>
                  <a:gd name="T1" fmla="*/ 1 h 67"/>
                  <a:gd name="T2" fmla="*/ 0 w 133"/>
                  <a:gd name="T3" fmla="*/ 1 h 67"/>
                  <a:gd name="T4" fmla="*/ 0 w 133"/>
                  <a:gd name="T5" fmla="*/ 1 h 67"/>
                  <a:gd name="T6" fmla="*/ 1 w 133"/>
                  <a:gd name="T7" fmla="*/ 0 h 67"/>
                  <a:gd name="T8" fmla="*/ 1 w 133"/>
                  <a:gd name="T9" fmla="*/ 0 h 67"/>
                  <a:gd name="T10" fmla="*/ 1 w 133"/>
                  <a:gd name="T11" fmla="*/ 1 h 67"/>
                  <a:gd name="T12" fmla="*/ 1 w 133"/>
                  <a:gd name="T13" fmla="*/ 1 h 67"/>
                  <a:gd name="T14" fmla="*/ 0 w 133"/>
                  <a:gd name="T15" fmla="*/ 1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3" h="67">
                    <a:moveTo>
                      <a:pt x="0" y="66"/>
                    </a:moveTo>
                    <a:lnTo>
                      <a:pt x="0" y="66"/>
                    </a:lnTo>
                    <a:cubicBezTo>
                      <a:pt x="0" y="29"/>
                      <a:pt x="30" y="0"/>
                      <a:pt x="66" y="0"/>
                    </a:cubicBezTo>
                    <a:cubicBezTo>
                      <a:pt x="102" y="0"/>
                      <a:pt x="132" y="29"/>
                      <a:pt x="132" y="66"/>
                    </a:cubicBezTo>
                    <a:cubicBezTo>
                      <a:pt x="88" y="66"/>
                      <a:pt x="44" y="66"/>
                      <a:pt x="0" y="66"/>
                    </a:cubicBezTo>
                  </a:path>
                </a:pathLst>
              </a:custGeom>
              <a:solidFill>
                <a:srgbClr val="35C9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7" name="Freeform 205"/>
              <p:cNvSpPr>
                <a:spLocks noChangeArrowheads="1"/>
              </p:cNvSpPr>
              <p:nvPr/>
            </p:nvSpPr>
            <p:spPr bwMode="auto">
              <a:xfrm>
                <a:off x="681039" y="2497902"/>
                <a:ext cx="46038" cy="22225"/>
              </a:xfrm>
              <a:custGeom>
                <a:avLst/>
                <a:gdLst>
                  <a:gd name="T0" fmla="*/ 0 w 133"/>
                  <a:gd name="T1" fmla="*/ 1 h 67"/>
                  <a:gd name="T2" fmla="*/ 0 w 133"/>
                  <a:gd name="T3" fmla="*/ 1 h 67"/>
                  <a:gd name="T4" fmla="*/ 0 w 133"/>
                  <a:gd name="T5" fmla="*/ 1 h 67"/>
                  <a:gd name="T6" fmla="*/ 1 w 133"/>
                  <a:gd name="T7" fmla="*/ 0 h 67"/>
                  <a:gd name="T8" fmla="*/ 1 w 133"/>
                  <a:gd name="T9" fmla="*/ 0 h 67"/>
                  <a:gd name="T10" fmla="*/ 1 w 133"/>
                  <a:gd name="T11" fmla="*/ 1 h 67"/>
                  <a:gd name="T12" fmla="*/ 1 w 133"/>
                  <a:gd name="T13" fmla="*/ 1 h 67"/>
                  <a:gd name="T14" fmla="*/ 0 w 133"/>
                  <a:gd name="T15" fmla="*/ 1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3" h="67">
                    <a:moveTo>
                      <a:pt x="0" y="66"/>
                    </a:moveTo>
                    <a:lnTo>
                      <a:pt x="0" y="66"/>
                    </a:lnTo>
                    <a:cubicBezTo>
                      <a:pt x="0" y="29"/>
                      <a:pt x="30" y="0"/>
                      <a:pt x="66" y="0"/>
                    </a:cubicBezTo>
                    <a:cubicBezTo>
                      <a:pt x="102" y="0"/>
                      <a:pt x="132" y="29"/>
                      <a:pt x="132" y="66"/>
                    </a:cubicBezTo>
                    <a:cubicBezTo>
                      <a:pt x="88" y="66"/>
                      <a:pt x="44" y="66"/>
                      <a:pt x="0" y="66"/>
                    </a:cubicBezTo>
                  </a:path>
                </a:pathLst>
              </a:custGeom>
              <a:solidFill>
                <a:srgbClr val="35C9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8" name="Freeform 206"/>
              <p:cNvSpPr>
                <a:spLocks noChangeArrowheads="1"/>
              </p:cNvSpPr>
              <p:nvPr/>
            </p:nvSpPr>
            <p:spPr bwMode="auto">
              <a:xfrm>
                <a:off x="688976" y="2340740"/>
                <a:ext cx="30163" cy="30163"/>
              </a:xfrm>
              <a:custGeom>
                <a:avLst/>
                <a:gdLst>
                  <a:gd name="T0" fmla="*/ 1 w 89"/>
                  <a:gd name="T1" fmla="*/ 0 h 88"/>
                  <a:gd name="T2" fmla="*/ 1 w 89"/>
                  <a:gd name="T3" fmla="*/ 0 h 88"/>
                  <a:gd name="T4" fmla="*/ 0 w 89"/>
                  <a:gd name="T5" fmla="*/ 1 h 88"/>
                  <a:gd name="T6" fmla="*/ 0 w 89"/>
                  <a:gd name="T7" fmla="*/ 0 h 88"/>
                  <a:gd name="T8" fmla="*/ 0 w 89"/>
                  <a:gd name="T9" fmla="*/ 0 h 88"/>
                  <a:gd name="T10" fmla="*/ 1 w 89"/>
                  <a:gd name="T11" fmla="*/ 0 h 8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9" h="88">
                    <a:moveTo>
                      <a:pt x="88" y="44"/>
                    </a:moveTo>
                    <a:lnTo>
                      <a:pt x="88" y="44"/>
                    </a:lnTo>
                    <a:cubicBezTo>
                      <a:pt x="88" y="68"/>
                      <a:pt x="68" y="87"/>
                      <a:pt x="44" y="87"/>
                    </a:cubicBezTo>
                    <a:cubicBezTo>
                      <a:pt x="19" y="87"/>
                      <a:pt x="0" y="68"/>
                      <a:pt x="0" y="44"/>
                    </a:cubicBezTo>
                    <a:cubicBezTo>
                      <a:pt x="0" y="19"/>
                      <a:pt x="19" y="0"/>
                      <a:pt x="44" y="0"/>
                    </a:cubicBezTo>
                    <a:cubicBezTo>
                      <a:pt x="68" y="0"/>
                      <a:pt x="88" y="19"/>
                      <a:pt x="88" y="44"/>
                    </a:cubicBezTo>
                  </a:path>
                </a:pathLst>
              </a:custGeom>
              <a:solidFill>
                <a:srgbClr val="35C9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9" name="Freeform 207"/>
              <p:cNvSpPr>
                <a:spLocks noChangeArrowheads="1"/>
              </p:cNvSpPr>
              <p:nvPr/>
            </p:nvSpPr>
            <p:spPr bwMode="auto">
              <a:xfrm>
                <a:off x="688976" y="2450277"/>
                <a:ext cx="30163" cy="30163"/>
              </a:xfrm>
              <a:custGeom>
                <a:avLst/>
                <a:gdLst>
                  <a:gd name="T0" fmla="*/ 1 w 89"/>
                  <a:gd name="T1" fmla="*/ 0 h 88"/>
                  <a:gd name="T2" fmla="*/ 1 w 89"/>
                  <a:gd name="T3" fmla="*/ 0 h 88"/>
                  <a:gd name="T4" fmla="*/ 0 w 89"/>
                  <a:gd name="T5" fmla="*/ 1 h 88"/>
                  <a:gd name="T6" fmla="*/ 0 w 89"/>
                  <a:gd name="T7" fmla="*/ 0 h 88"/>
                  <a:gd name="T8" fmla="*/ 0 w 89"/>
                  <a:gd name="T9" fmla="*/ 0 h 88"/>
                  <a:gd name="T10" fmla="*/ 1 w 89"/>
                  <a:gd name="T11" fmla="*/ 0 h 8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9" h="88">
                    <a:moveTo>
                      <a:pt x="88" y="44"/>
                    </a:moveTo>
                    <a:lnTo>
                      <a:pt x="88" y="44"/>
                    </a:lnTo>
                    <a:cubicBezTo>
                      <a:pt x="88" y="68"/>
                      <a:pt x="68" y="87"/>
                      <a:pt x="44" y="87"/>
                    </a:cubicBezTo>
                    <a:cubicBezTo>
                      <a:pt x="19" y="87"/>
                      <a:pt x="0" y="68"/>
                      <a:pt x="0" y="44"/>
                    </a:cubicBezTo>
                    <a:cubicBezTo>
                      <a:pt x="0" y="20"/>
                      <a:pt x="19" y="0"/>
                      <a:pt x="44" y="0"/>
                    </a:cubicBezTo>
                    <a:cubicBezTo>
                      <a:pt x="68" y="0"/>
                      <a:pt x="88" y="20"/>
                      <a:pt x="88" y="44"/>
                    </a:cubicBezTo>
                  </a:path>
                </a:pathLst>
              </a:custGeom>
              <a:solidFill>
                <a:srgbClr val="F9BA48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0" name="Freeform 208"/>
              <p:cNvSpPr>
                <a:spLocks noChangeArrowheads="1"/>
              </p:cNvSpPr>
              <p:nvPr/>
            </p:nvSpPr>
            <p:spPr bwMode="auto">
              <a:xfrm>
                <a:off x="617539" y="2174052"/>
                <a:ext cx="487363" cy="487363"/>
              </a:xfrm>
              <a:custGeom>
                <a:avLst/>
                <a:gdLst>
                  <a:gd name="T0" fmla="*/ 15 w 1358"/>
                  <a:gd name="T1" fmla="*/ 4 h 1358"/>
                  <a:gd name="T2" fmla="*/ 15 w 1358"/>
                  <a:gd name="T3" fmla="*/ 4 h 1358"/>
                  <a:gd name="T4" fmla="*/ 15 w 1358"/>
                  <a:gd name="T5" fmla="*/ 2 h 1358"/>
                  <a:gd name="T6" fmla="*/ 12 w 1358"/>
                  <a:gd name="T7" fmla="*/ 0 h 1358"/>
                  <a:gd name="T8" fmla="*/ 5 w 1358"/>
                  <a:gd name="T9" fmla="*/ 0 h 1358"/>
                  <a:gd name="T10" fmla="*/ 5 w 1358"/>
                  <a:gd name="T11" fmla="*/ 4 h 1358"/>
                  <a:gd name="T12" fmla="*/ 1 w 1358"/>
                  <a:gd name="T13" fmla="*/ 4 h 1358"/>
                  <a:gd name="T14" fmla="*/ 0 w 1358"/>
                  <a:gd name="T15" fmla="*/ 5 h 1358"/>
                  <a:gd name="T16" fmla="*/ 0 w 1358"/>
                  <a:gd name="T17" fmla="*/ 13 h 1358"/>
                  <a:gd name="T18" fmla="*/ 1 w 1358"/>
                  <a:gd name="T19" fmla="*/ 14 h 1358"/>
                  <a:gd name="T20" fmla="*/ 4 w 1358"/>
                  <a:gd name="T21" fmla="*/ 14 h 1358"/>
                  <a:gd name="T22" fmla="*/ 4 w 1358"/>
                  <a:gd name="T23" fmla="*/ 15 h 1358"/>
                  <a:gd name="T24" fmla="*/ 3 w 1358"/>
                  <a:gd name="T25" fmla="*/ 15 h 1358"/>
                  <a:gd name="T26" fmla="*/ 3 w 1358"/>
                  <a:gd name="T27" fmla="*/ 16 h 1358"/>
                  <a:gd name="T28" fmla="*/ 12 w 1358"/>
                  <a:gd name="T29" fmla="*/ 16 h 1358"/>
                  <a:gd name="T30" fmla="*/ 12 w 1358"/>
                  <a:gd name="T31" fmla="*/ 15 h 1358"/>
                  <a:gd name="T32" fmla="*/ 11 w 1358"/>
                  <a:gd name="T33" fmla="*/ 15 h 1358"/>
                  <a:gd name="T34" fmla="*/ 11 w 1358"/>
                  <a:gd name="T35" fmla="*/ 14 h 1358"/>
                  <a:gd name="T36" fmla="*/ 14 w 1358"/>
                  <a:gd name="T37" fmla="*/ 14 h 1358"/>
                  <a:gd name="T38" fmla="*/ 16 w 1358"/>
                  <a:gd name="T39" fmla="*/ 13 h 1358"/>
                  <a:gd name="T40" fmla="*/ 16 w 1358"/>
                  <a:gd name="T41" fmla="*/ 5 h 1358"/>
                  <a:gd name="T42" fmla="*/ 15 w 1358"/>
                  <a:gd name="T43" fmla="*/ 4 h 1358"/>
                  <a:gd name="T44" fmla="*/ 14 w 1358"/>
                  <a:gd name="T45" fmla="*/ 2 h 1358"/>
                  <a:gd name="T46" fmla="*/ 14 w 1358"/>
                  <a:gd name="T47" fmla="*/ 2 h 1358"/>
                  <a:gd name="T48" fmla="*/ 12 w 1358"/>
                  <a:gd name="T49" fmla="*/ 2 h 1358"/>
                  <a:gd name="T50" fmla="*/ 12 w 1358"/>
                  <a:gd name="T51" fmla="*/ 1 h 1358"/>
                  <a:gd name="T52" fmla="*/ 14 w 1358"/>
                  <a:gd name="T53" fmla="*/ 2 h 1358"/>
                  <a:gd name="T54" fmla="*/ 6 w 1358"/>
                  <a:gd name="T55" fmla="*/ 0 h 1358"/>
                  <a:gd name="T56" fmla="*/ 6 w 1358"/>
                  <a:gd name="T57" fmla="*/ 0 h 1358"/>
                  <a:gd name="T58" fmla="*/ 12 w 1358"/>
                  <a:gd name="T59" fmla="*/ 0 h 1358"/>
                  <a:gd name="T60" fmla="*/ 12 w 1358"/>
                  <a:gd name="T61" fmla="*/ 3 h 1358"/>
                  <a:gd name="T62" fmla="*/ 14 w 1358"/>
                  <a:gd name="T63" fmla="*/ 3 h 1358"/>
                  <a:gd name="T64" fmla="*/ 14 w 1358"/>
                  <a:gd name="T65" fmla="*/ 11 h 1358"/>
                  <a:gd name="T66" fmla="*/ 6 w 1358"/>
                  <a:gd name="T67" fmla="*/ 11 h 1358"/>
                  <a:gd name="T68" fmla="*/ 6 w 1358"/>
                  <a:gd name="T69" fmla="*/ 0 h 1358"/>
                  <a:gd name="T70" fmla="*/ 1 w 1358"/>
                  <a:gd name="T71" fmla="*/ 4 h 1358"/>
                  <a:gd name="T72" fmla="*/ 1 w 1358"/>
                  <a:gd name="T73" fmla="*/ 4 h 1358"/>
                  <a:gd name="T74" fmla="*/ 5 w 1358"/>
                  <a:gd name="T75" fmla="*/ 4 h 1358"/>
                  <a:gd name="T76" fmla="*/ 5 w 1358"/>
                  <a:gd name="T77" fmla="*/ 12 h 1358"/>
                  <a:gd name="T78" fmla="*/ 15 w 1358"/>
                  <a:gd name="T79" fmla="*/ 12 h 1358"/>
                  <a:gd name="T80" fmla="*/ 15 w 1358"/>
                  <a:gd name="T81" fmla="*/ 4 h 1358"/>
                  <a:gd name="T82" fmla="*/ 15 w 1358"/>
                  <a:gd name="T83" fmla="*/ 5 h 1358"/>
                  <a:gd name="T84" fmla="*/ 15 w 1358"/>
                  <a:gd name="T85" fmla="*/ 12 h 1358"/>
                  <a:gd name="T86" fmla="*/ 0 w 1358"/>
                  <a:gd name="T87" fmla="*/ 12 h 1358"/>
                  <a:gd name="T88" fmla="*/ 0 w 1358"/>
                  <a:gd name="T89" fmla="*/ 5 h 1358"/>
                  <a:gd name="T90" fmla="*/ 1 w 1358"/>
                  <a:gd name="T91" fmla="*/ 4 h 1358"/>
                  <a:gd name="T92" fmla="*/ 11 w 1358"/>
                  <a:gd name="T93" fmla="*/ 15 h 1358"/>
                  <a:gd name="T94" fmla="*/ 11 w 1358"/>
                  <a:gd name="T95" fmla="*/ 15 h 1358"/>
                  <a:gd name="T96" fmla="*/ 5 w 1358"/>
                  <a:gd name="T97" fmla="*/ 15 h 1358"/>
                  <a:gd name="T98" fmla="*/ 5 w 1358"/>
                  <a:gd name="T99" fmla="*/ 14 h 1358"/>
                  <a:gd name="T100" fmla="*/ 11 w 1358"/>
                  <a:gd name="T101" fmla="*/ 14 h 1358"/>
                  <a:gd name="T102" fmla="*/ 11 w 1358"/>
                  <a:gd name="T103" fmla="*/ 15 h 1358"/>
                  <a:gd name="T104" fmla="*/ 14 w 1358"/>
                  <a:gd name="T105" fmla="*/ 14 h 1358"/>
                  <a:gd name="T106" fmla="*/ 14 w 1358"/>
                  <a:gd name="T107" fmla="*/ 14 h 1358"/>
                  <a:gd name="T108" fmla="*/ 1 w 1358"/>
                  <a:gd name="T109" fmla="*/ 14 h 1358"/>
                  <a:gd name="T110" fmla="*/ 0 w 1358"/>
                  <a:gd name="T111" fmla="*/ 13 h 1358"/>
                  <a:gd name="T112" fmla="*/ 0 w 1358"/>
                  <a:gd name="T113" fmla="*/ 13 h 1358"/>
                  <a:gd name="T114" fmla="*/ 15 w 1358"/>
                  <a:gd name="T115" fmla="*/ 13 h 1358"/>
                  <a:gd name="T116" fmla="*/ 15 w 1358"/>
                  <a:gd name="T117" fmla="*/ 13 h 1358"/>
                  <a:gd name="T118" fmla="*/ 14 w 1358"/>
                  <a:gd name="T119" fmla="*/ 14 h 135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358" h="1358">
                    <a:moveTo>
                      <a:pt x="1269" y="309"/>
                    </a:moveTo>
                    <a:lnTo>
                      <a:pt x="1269" y="309"/>
                    </a:lnTo>
                    <a:cubicBezTo>
                      <a:pt x="1269" y="210"/>
                      <a:pt x="1269" y="243"/>
                      <a:pt x="1269" y="210"/>
                    </a:cubicBezTo>
                    <a:cubicBezTo>
                      <a:pt x="1059" y="0"/>
                      <a:pt x="1129" y="70"/>
                      <a:pt x="1059" y="0"/>
                    </a:cubicBezTo>
                    <a:cubicBezTo>
                      <a:pt x="438" y="0"/>
                      <a:pt x="645" y="0"/>
                      <a:pt x="438" y="0"/>
                    </a:cubicBezTo>
                    <a:cubicBezTo>
                      <a:pt x="438" y="307"/>
                      <a:pt x="438" y="205"/>
                      <a:pt x="438" y="307"/>
                    </a:cubicBezTo>
                    <a:cubicBezTo>
                      <a:pt x="109" y="307"/>
                      <a:pt x="219" y="307"/>
                      <a:pt x="109" y="307"/>
                    </a:cubicBezTo>
                    <a:cubicBezTo>
                      <a:pt x="49" y="307"/>
                      <a:pt x="0" y="356"/>
                      <a:pt x="0" y="416"/>
                    </a:cubicBezTo>
                    <a:cubicBezTo>
                      <a:pt x="0" y="1116"/>
                      <a:pt x="0" y="883"/>
                      <a:pt x="0" y="1116"/>
                    </a:cubicBezTo>
                    <a:cubicBezTo>
                      <a:pt x="0" y="1177"/>
                      <a:pt x="49" y="1226"/>
                      <a:pt x="109" y="1226"/>
                    </a:cubicBezTo>
                    <a:cubicBezTo>
                      <a:pt x="372" y="1226"/>
                      <a:pt x="285" y="1226"/>
                      <a:pt x="372" y="1226"/>
                    </a:cubicBezTo>
                    <a:cubicBezTo>
                      <a:pt x="372" y="1314"/>
                      <a:pt x="372" y="1285"/>
                      <a:pt x="372" y="1314"/>
                    </a:cubicBezTo>
                    <a:cubicBezTo>
                      <a:pt x="285" y="1314"/>
                      <a:pt x="314" y="1314"/>
                      <a:pt x="285" y="1314"/>
                    </a:cubicBezTo>
                    <a:cubicBezTo>
                      <a:pt x="285" y="1357"/>
                      <a:pt x="285" y="1343"/>
                      <a:pt x="285" y="1357"/>
                    </a:cubicBezTo>
                    <a:cubicBezTo>
                      <a:pt x="1072" y="1357"/>
                      <a:pt x="810" y="1357"/>
                      <a:pt x="1072" y="1357"/>
                    </a:cubicBezTo>
                    <a:cubicBezTo>
                      <a:pt x="1072" y="1314"/>
                      <a:pt x="1072" y="1328"/>
                      <a:pt x="1072" y="1314"/>
                    </a:cubicBezTo>
                    <a:cubicBezTo>
                      <a:pt x="985" y="1314"/>
                      <a:pt x="1014" y="1314"/>
                      <a:pt x="985" y="1314"/>
                    </a:cubicBezTo>
                    <a:cubicBezTo>
                      <a:pt x="985" y="1226"/>
                      <a:pt x="985" y="1255"/>
                      <a:pt x="985" y="1226"/>
                    </a:cubicBezTo>
                    <a:cubicBezTo>
                      <a:pt x="1248" y="1226"/>
                      <a:pt x="1161" y="1226"/>
                      <a:pt x="1248" y="1226"/>
                    </a:cubicBezTo>
                    <a:cubicBezTo>
                      <a:pt x="1308" y="1226"/>
                      <a:pt x="1357" y="1177"/>
                      <a:pt x="1357" y="1116"/>
                    </a:cubicBezTo>
                    <a:cubicBezTo>
                      <a:pt x="1357" y="416"/>
                      <a:pt x="1357" y="649"/>
                      <a:pt x="1357" y="416"/>
                    </a:cubicBezTo>
                    <a:cubicBezTo>
                      <a:pt x="1357" y="363"/>
                      <a:pt x="1319" y="319"/>
                      <a:pt x="1269" y="309"/>
                    </a:cubicBezTo>
                    <a:close/>
                    <a:moveTo>
                      <a:pt x="1217" y="219"/>
                    </a:moveTo>
                    <a:lnTo>
                      <a:pt x="1217" y="219"/>
                    </a:lnTo>
                    <a:cubicBezTo>
                      <a:pt x="1050" y="219"/>
                      <a:pt x="1106" y="219"/>
                      <a:pt x="1050" y="219"/>
                    </a:cubicBezTo>
                    <a:cubicBezTo>
                      <a:pt x="1050" y="53"/>
                      <a:pt x="1050" y="108"/>
                      <a:pt x="1050" y="53"/>
                    </a:cubicBezTo>
                    <a:cubicBezTo>
                      <a:pt x="1106" y="108"/>
                      <a:pt x="1162" y="164"/>
                      <a:pt x="1217" y="219"/>
                    </a:cubicBezTo>
                    <a:close/>
                    <a:moveTo>
                      <a:pt x="481" y="44"/>
                    </a:moveTo>
                    <a:lnTo>
                      <a:pt x="481" y="44"/>
                    </a:lnTo>
                    <a:cubicBezTo>
                      <a:pt x="1007" y="44"/>
                      <a:pt x="832" y="44"/>
                      <a:pt x="1007" y="44"/>
                    </a:cubicBezTo>
                    <a:cubicBezTo>
                      <a:pt x="1007" y="263"/>
                      <a:pt x="1007" y="190"/>
                      <a:pt x="1007" y="263"/>
                    </a:cubicBezTo>
                    <a:cubicBezTo>
                      <a:pt x="1226" y="263"/>
                      <a:pt x="1153" y="263"/>
                      <a:pt x="1226" y="263"/>
                    </a:cubicBezTo>
                    <a:cubicBezTo>
                      <a:pt x="1226" y="964"/>
                      <a:pt x="1226" y="730"/>
                      <a:pt x="1226" y="964"/>
                    </a:cubicBezTo>
                    <a:cubicBezTo>
                      <a:pt x="481" y="964"/>
                      <a:pt x="730" y="964"/>
                      <a:pt x="481" y="964"/>
                    </a:cubicBezTo>
                    <a:cubicBezTo>
                      <a:pt x="481" y="657"/>
                      <a:pt x="481" y="351"/>
                      <a:pt x="481" y="44"/>
                    </a:cubicBezTo>
                    <a:close/>
                    <a:moveTo>
                      <a:pt x="109" y="350"/>
                    </a:moveTo>
                    <a:lnTo>
                      <a:pt x="109" y="350"/>
                    </a:lnTo>
                    <a:cubicBezTo>
                      <a:pt x="438" y="350"/>
                      <a:pt x="329" y="350"/>
                      <a:pt x="438" y="350"/>
                    </a:cubicBezTo>
                    <a:cubicBezTo>
                      <a:pt x="438" y="1007"/>
                      <a:pt x="438" y="788"/>
                      <a:pt x="438" y="1007"/>
                    </a:cubicBezTo>
                    <a:cubicBezTo>
                      <a:pt x="1269" y="1007"/>
                      <a:pt x="992" y="1007"/>
                      <a:pt x="1269" y="1007"/>
                    </a:cubicBezTo>
                    <a:cubicBezTo>
                      <a:pt x="1269" y="355"/>
                      <a:pt x="1269" y="572"/>
                      <a:pt x="1269" y="355"/>
                    </a:cubicBezTo>
                    <a:cubicBezTo>
                      <a:pt x="1295" y="364"/>
                      <a:pt x="1313" y="388"/>
                      <a:pt x="1313" y="416"/>
                    </a:cubicBezTo>
                    <a:cubicBezTo>
                      <a:pt x="1313" y="1051"/>
                      <a:pt x="1313" y="839"/>
                      <a:pt x="1313" y="1051"/>
                    </a:cubicBezTo>
                    <a:cubicBezTo>
                      <a:pt x="44" y="1051"/>
                      <a:pt x="467" y="1051"/>
                      <a:pt x="44" y="1051"/>
                    </a:cubicBezTo>
                    <a:cubicBezTo>
                      <a:pt x="44" y="416"/>
                      <a:pt x="44" y="628"/>
                      <a:pt x="44" y="416"/>
                    </a:cubicBezTo>
                    <a:cubicBezTo>
                      <a:pt x="44" y="380"/>
                      <a:pt x="73" y="350"/>
                      <a:pt x="109" y="350"/>
                    </a:cubicBezTo>
                    <a:close/>
                    <a:moveTo>
                      <a:pt x="941" y="1314"/>
                    </a:moveTo>
                    <a:lnTo>
                      <a:pt x="941" y="1314"/>
                    </a:lnTo>
                    <a:cubicBezTo>
                      <a:pt x="416" y="1314"/>
                      <a:pt x="591" y="1314"/>
                      <a:pt x="416" y="1314"/>
                    </a:cubicBezTo>
                    <a:cubicBezTo>
                      <a:pt x="416" y="1226"/>
                      <a:pt x="416" y="1255"/>
                      <a:pt x="416" y="1226"/>
                    </a:cubicBezTo>
                    <a:cubicBezTo>
                      <a:pt x="941" y="1226"/>
                      <a:pt x="766" y="1226"/>
                      <a:pt x="941" y="1226"/>
                    </a:cubicBezTo>
                    <a:cubicBezTo>
                      <a:pt x="941" y="1255"/>
                      <a:pt x="941" y="1285"/>
                      <a:pt x="941" y="1314"/>
                    </a:cubicBezTo>
                    <a:close/>
                    <a:moveTo>
                      <a:pt x="1248" y="1182"/>
                    </a:moveTo>
                    <a:lnTo>
                      <a:pt x="1248" y="1182"/>
                    </a:lnTo>
                    <a:cubicBezTo>
                      <a:pt x="109" y="1182"/>
                      <a:pt x="489" y="1182"/>
                      <a:pt x="109" y="1182"/>
                    </a:cubicBezTo>
                    <a:cubicBezTo>
                      <a:pt x="73" y="1182"/>
                      <a:pt x="44" y="1153"/>
                      <a:pt x="44" y="1116"/>
                    </a:cubicBezTo>
                    <a:cubicBezTo>
                      <a:pt x="44" y="1094"/>
                      <a:pt x="44" y="1101"/>
                      <a:pt x="44" y="1094"/>
                    </a:cubicBezTo>
                    <a:cubicBezTo>
                      <a:pt x="1313" y="1094"/>
                      <a:pt x="890" y="1094"/>
                      <a:pt x="1313" y="1094"/>
                    </a:cubicBezTo>
                    <a:cubicBezTo>
                      <a:pt x="1313" y="1116"/>
                      <a:pt x="1313" y="1109"/>
                      <a:pt x="1313" y="1116"/>
                    </a:cubicBezTo>
                    <a:cubicBezTo>
                      <a:pt x="1313" y="1153"/>
                      <a:pt x="1284" y="1182"/>
                      <a:pt x="1248" y="1182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1" name="Freeform 209"/>
              <p:cNvSpPr>
                <a:spLocks noChangeArrowheads="1"/>
              </p:cNvSpPr>
              <p:nvPr/>
            </p:nvSpPr>
            <p:spPr bwMode="auto">
              <a:xfrm>
                <a:off x="649289" y="2316927"/>
                <a:ext cx="109538" cy="109538"/>
              </a:xfrm>
              <a:custGeom>
                <a:avLst/>
                <a:gdLst>
                  <a:gd name="T0" fmla="*/ 4 w 307"/>
                  <a:gd name="T1" fmla="*/ 2 h 307"/>
                  <a:gd name="T2" fmla="*/ 4 w 307"/>
                  <a:gd name="T3" fmla="*/ 2 h 307"/>
                  <a:gd name="T4" fmla="*/ 2 w 307"/>
                  <a:gd name="T5" fmla="*/ 0 h 307"/>
                  <a:gd name="T6" fmla="*/ 0 w 307"/>
                  <a:gd name="T7" fmla="*/ 2 h 307"/>
                  <a:gd name="T8" fmla="*/ 2 w 307"/>
                  <a:gd name="T9" fmla="*/ 4 h 307"/>
                  <a:gd name="T10" fmla="*/ 4 w 307"/>
                  <a:gd name="T11" fmla="*/ 2 h 307"/>
                  <a:gd name="T12" fmla="*/ 2 w 307"/>
                  <a:gd name="T13" fmla="*/ 1 h 307"/>
                  <a:gd name="T14" fmla="*/ 2 w 307"/>
                  <a:gd name="T15" fmla="*/ 1 h 307"/>
                  <a:gd name="T16" fmla="*/ 2 w 307"/>
                  <a:gd name="T17" fmla="*/ 2 h 307"/>
                  <a:gd name="T18" fmla="*/ 2 w 307"/>
                  <a:gd name="T19" fmla="*/ 1 h 307"/>
                  <a:gd name="T20" fmla="*/ 2 w 307"/>
                  <a:gd name="T21" fmla="*/ 1 h 307"/>
                  <a:gd name="T22" fmla="*/ 2 w 307"/>
                  <a:gd name="T23" fmla="*/ 1 h 307"/>
                  <a:gd name="T24" fmla="*/ 0 w 307"/>
                  <a:gd name="T25" fmla="*/ 2 h 307"/>
                  <a:gd name="T26" fmla="*/ 0 w 307"/>
                  <a:gd name="T27" fmla="*/ 2 h 307"/>
                  <a:gd name="T28" fmla="*/ 2 w 307"/>
                  <a:gd name="T29" fmla="*/ 0 h 307"/>
                  <a:gd name="T30" fmla="*/ 1 w 307"/>
                  <a:gd name="T31" fmla="*/ 1 h 307"/>
                  <a:gd name="T32" fmla="*/ 2 w 307"/>
                  <a:gd name="T33" fmla="*/ 2 h 307"/>
                  <a:gd name="T34" fmla="*/ 2 w 307"/>
                  <a:gd name="T35" fmla="*/ 1 h 307"/>
                  <a:gd name="T36" fmla="*/ 2 w 307"/>
                  <a:gd name="T37" fmla="*/ 0 h 307"/>
                  <a:gd name="T38" fmla="*/ 3 w 307"/>
                  <a:gd name="T39" fmla="*/ 2 h 307"/>
                  <a:gd name="T40" fmla="*/ 3 w 307"/>
                  <a:gd name="T41" fmla="*/ 2 h 307"/>
                  <a:gd name="T42" fmla="*/ 2 w 307"/>
                  <a:gd name="T43" fmla="*/ 2 h 307"/>
                  <a:gd name="T44" fmla="*/ 1 w 307"/>
                  <a:gd name="T45" fmla="*/ 2 h 307"/>
                  <a:gd name="T46" fmla="*/ 0 w 307"/>
                  <a:gd name="T47" fmla="*/ 2 h 307"/>
                  <a:gd name="T48" fmla="*/ 1 w 307"/>
                  <a:gd name="T49" fmla="*/ 3 h 307"/>
                  <a:gd name="T50" fmla="*/ 1 w 307"/>
                  <a:gd name="T51" fmla="*/ 3 h 307"/>
                  <a:gd name="T52" fmla="*/ 2 w 307"/>
                  <a:gd name="T53" fmla="*/ 2 h 307"/>
                  <a:gd name="T54" fmla="*/ 2 w 307"/>
                  <a:gd name="T55" fmla="*/ 3 h 307"/>
                  <a:gd name="T56" fmla="*/ 2 w 307"/>
                  <a:gd name="T57" fmla="*/ 3 h 307"/>
                  <a:gd name="T58" fmla="*/ 1 w 307"/>
                  <a:gd name="T59" fmla="*/ 3 h 30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07" h="307">
                    <a:moveTo>
                      <a:pt x="306" y="152"/>
                    </a:moveTo>
                    <a:lnTo>
                      <a:pt x="306" y="152"/>
                    </a:lnTo>
                    <a:cubicBezTo>
                      <a:pt x="306" y="68"/>
                      <a:pt x="237" y="0"/>
                      <a:pt x="153" y="0"/>
                    </a:cubicBezTo>
                    <a:cubicBezTo>
                      <a:pt x="69" y="0"/>
                      <a:pt x="0" y="68"/>
                      <a:pt x="0" y="152"/>
                    </a:cubicBezTo>
                    <a:cubicBezTo>
                      <a:pt x="0" y="237"/>
                      <a:pt x="69" y="306"/>
                      <a:pt x="153" y="306"/>
                    </a:cubicBezTo>
                    <a:cubicBezTo>
                      <a:pt x="237" y="306"/>
                      <a:pt x="306" y="237"/>
                      <a:pt x="306" y="152"/>
                    </a:cubicBezTo>
                    <a:close/>
                    <a:moveTo>
                      <a:pt x="175" y="109"/>
                    </a:moveTo>
                    <a:lnTo>
                      <a:pt x="175" y="109"/>
                    </a:lnTo>
                    <a:cubicBezTo>
                      <a:pt x="175" y="121"/>
                      <a:pt x="165" y="130"/>
                      <a:pt x="153" y="130"/>
                    </a:cubicBezTo>
                    <a:cubicBezTo>
                      <a:pt x="141" y="130"/>
                      <a:pt x="131" y="121"/>
                      <a:pt x="131" y="109"/>
                    </a:cubicBezTo>
                    <a:cubicBezTo>
                      <a:pt x="131" y="97"/>
                      <a:pt x="141" y="87"/>
                      <a:pt x="153" y="87"/>
                    </a:cubicBezTo>
                    <a:cubicBezTo>
                      <a:pt x="165" y="87"/>
                      <a:pt x="175" y="97"/>
                      <a:pt x="175" y="109"/>
                    </a:cubicBezTo>
                    <a:close/>
                    <a:moveTo>
                      <a:pt x="43" y="152"/>
                    </a:moveTo>
                    <a:lnTo>
                      <a:pt x="43" y="152"/>
                    </a:lnTo>
                    <a:cubicBezTo>
                      <a:pt x="43" y="97"/>
                      <a:pt x="86" y="51"/>
                      <a:pt x="139" y="44"/>
                    </a:cubicBezTo>
                    <a:cubicBezTo>
                      <a:pt x="110" y="50"/>
                      <a:pt x="87" y="77"/>
                      <a:pt x="87" y="109"/>
                    </a:cubicBezTo>
                    <a:cubicBezTo>
                      <a:pt x="87" y="145"/>
                      <a:pt x="117" y="174"/>
                      <a:pt x="153" y="174"/>
                    </a:cubicBezTo>
                    <a:cubicBezTo>
                      <a:pt x="189" y="174"/>
                      <a:pt x="219" y="145"/>
                      <a:pt x="219" y="109"/>
                    </a:cubicBezTo>
                    <a:cubicBezTo>
                      <a:pt x="219" y="77"/>
                      <a:pt x="196" y="50"/>
                      <a:pt x="166" y="44"/>
                    </a:cubicBezTo>
                    <a:cubicBezTo>
                      <a:pt x="220" y="51"/>
                      <a:pt x="262" y="97"/>
                      <a:pt x="262" y="152"/>
                    </a:cubicBezTo>
                    <a:cubicBezTo>
                      <a:pt x="262" y="181"/>
                      <a:pt x="251" y="207"/>
                      <a:pt x="233" y="227"/>
                    </a:cubicBezTo>
                    <a:cubicBezTo>
                      <a:pt x="219" y="196"/>
                      <a:pt x="188" y="174"/>
                      <a:pt x="153" y="174"/>
                    </a:cubicBezTo>
                    <a:cubicBezTo>
                      <a:pt x="117" y="174"/>
                      <a:pt x="86" y="196"/>
                      <a:pt x="73" y="227"/>
                    </a:cubicBezTo>
                    <a:cubicBezTo>
                      <a:pt x="55" y="207"/>
                      <a:pt x="43" y="181"/>
                      <a:pt x="43" y="152"/>
                    </a:cubicBezTo>
                    <a:close/>
                    <a:moveTo>
                      <a:pt x="110" y="253"/>
                    </a:moveTo>
                    <a:lnTo>
                      <a:pt x="110" y="253"/>
                    </a:lnTo>
                    <a:cubicBezTo>
                      <a:pt x="114" y="233"/>
                      <a:pt x="132" y="218"/>
                      <a:pt x="153" y="218"/>
                    </a:cubicBezTo>
                    <a:cubicBezTo>
                      <a:pt x="174" y="218"/>
                      <a:pt x="192" y="233"/>
                      <a:pt x="196" y="253"/>
                    </a:cubicBezTo>
                    <a:cubicBezTo>
                      <a:pt x="183" y="259"/>
                      <a:pt x="168" y="262"/>
                      <a:pt x="153" y="262"/>
                    </a:cubicBezTo>
                    <a:cubicBezTo>
                      <a:pt x="137" y="262"/>
                      <a:pt x="123" y="259"/>
                      <a:pt x="110" y="25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2" name="Freeform 210"/>
              <p:cNvSpPr>
                <a:spLocks noChangeArrowheads="1"/>
              </p:cNvSpPr>
              <p:nvPr/>
            </p:nvSpPr>
            <p:spPr bwMode="auto">
              <a:xfrm>
                <a:off x="649289" y="2426465"/>
                <a:ext cx="109538" cy="109538"/>
              </a:xfrm>
              <a:custGeom>
                <a:avLst/>
                <a:gdLst>
                  <a:gd name="T0" fmla="*/ 0 w 307"/>
                  <a:gd name="T1" fmla="*/ 2 h 307"/>
                  <a:gd name="T2" fmla="*/ 0 w 307"/>
                  <a:gd name="T3" fmla="*/ 2 h 307"/>
                  <a:gd name="T4" fmla="*/ 2 w 307"/>
                  <a:gd name="T5" fmla="*/ 4 h 307"/>
                  <a:gd name="T6" fmla="*/ 4 w 307"/>
                  <a:gd name="T7" fmla="*/ 2 h 307"/>
                  <a:gd name="T8" fmla="*/ 2 w 307"/>
                  <a:gd name="T9" fmla="*/ 0 h 307"/>
                  <a:gd name="T10" fmla="*/ 0 w 307"/>
                  <a:gd name="T11" fmla="*/ 2 h 307"/>
                  <a:gd name="T12" fmla="*/ 1 w 307"/>
                  <a:gd name="T13" fmla="*/ 3 h 307"/>
                  <a:gd name="T14" fmla="*/ 1 w 307"/>
                  <a:gd name="T15" fmla="*/ 3 h 307"/>
                  <a:gd name="T16" fmla="*/ 2 w 307"/>
                  <a:gd name="T17" fmla="*/ 2 h 307"/>
                  <a:gd name="T18" fmla="*/ 2 w 307"/>
                  <a:gd name="T19" fmla="*/ 3 h 307"/>
                  <a:gd name="T20" fmla="*/ 2 w 307"/>
                  <a:gd name="T21" fmla="*/ 3 h 307"/>
                  <a:gd name="T22" fmla="*/ 1 w 307"/>
                  <a:gd name="T23" fmla="*/ 3 h 307"/>
                  <a:gd name="T24" fmla="*/ 2 w 307"/>
                  <a:gd name="T25" fmla="*/ 1 h 307"/>
                  <a:gd name="T26" fmla="*/ 2 w 307"/>
                  <a:gd name="T27" fmla="*/ 1 h 307"/>
                  <a:gd name="T28" fmla="*/ 2 w 307"/>
                  <a:gd name="T29" fmla="*/ 2 h 307"/>
                  <a:gd name="T30" fmla="*/ 2 w 307"/>
                  <a:gd name="T31" fmla="*/ 1 h 307"/>
                  <a:gd name="T32" fmla="*/ 2 w 307"/>
                  <a:gd name="T33" fmla="*/ 1 h 307"/>
                  <a:gd name="T34" fmla="*/ 2 w 307"/>
                  <a:gd name="T35" fmla="*/ 1 h 307"/>
                  <a:gd name="T36" fmla="*/ 2 w 307"/>
                  <a:gd name="T37" fmla="*/ 0 h 307"/>
                  <a:gd name="T38" fmla="*/ 2 w 307"/>
                  <a:gd name="T39" fmla="*/ 0 h 307"/>
                  <a:gd name="T40" fmla="*/ 1 w 307"/>
                  <a:gd name="T41" fmla="*/ 1 h 307"/>
                  <a:gd name="T42" fmla="*/ 2 w 307"/>
                  <a:gd name="T43" fmla="*/ 2 h 307"/>
                  <a:gd name="T44" fmla="*/ 2 w 307"/>
                  <a:gd name="T45" fmla="*/ 1 h 307"/>
                  <a:gd name="T46" fmla="*/ 2 w 307"/>
                  <a:gd name="T47" fmla="*/ 0 h 307"/>
                  <a:gd name="T48" fmla="*/ 3 w 307"/>
                  <a:gd name="T49" fmla="*/ 2 h 307"/>
                  <a:gd name="T50" fmla="*/ 3 w 307"/>
                  <a:gd name="T51" fmla="*/ 2 h 307"/>
                  <a:gd name="T52" fmla="*/ 2 w 307"/>
                  <a:gd name="T53" fmla="*/ 2 h 307"/>
                  <a:gd name="T54" fmla="*/ 1 w 307"/>
                  <a:gd name="T55" fmla="*/ 2 h 307"/>
                  <a:gd name="T56" fmla="*/ 0 w 307"/>
                  <a:gd name="T57" fmla="*/ 2 h 307"/>
                  <a:gd name="T58" fmla="*/ 2 w 307"/>
                  <a:gd name="T59" fmla="*/ 0 h 30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07" h="307">
                    <a:moveTo>
                      <a:pt x="0" y="152"/>
                    </a:moveTo>
                    <a:lnTo>
                      <a:pt x="0" y="152"/>
                    </a:lnTo>
                    <a:cubicBezTo>
                      <a:pt x="0" y="237"/>
                      <a:pt x="69" y="306"/>
                      <a:pt x="153" y="306"/>
                    </a:cubicBezTo>
                    <a:cubicBezTo>
                      <a:pt x="237" y="306"/>
                      <a:pt x="306" y="237"/>
                      <a:pt x="306" y="152"/>
                    </a:cubicBezTo>
                    <a:cubicBezTo>
                      <a:pt x="306" y="69"/>
                      <a:pt x="237" y="0"/>
                      <a:pt x="153" y="0"/>
                    </a:cubicBezTo>
                    <a:cubicBezTo>
                      <a:pt x="69" y="0"/>
                      <a:pt x="0" y="69"/>
                      <a:pt x="0" y="152"/>
                    </a:cubicBezTo>
                    <a:close/>
                    <a:moveTo>
                      <a:pt x="110" y="254"/>
                    </a:moveTo>
                    <a:lnTo>
                      <a:pt x="110" y="254"/>
                    </a:lnTo>
                    <a:cubicBezTo>
                      <a:pt x="114" y="234"/>
                      <a:pt x="132" y="219"/>
                      <a:pt x="153" y="219"/>
                    </a:cubicBezTo>
                    <a:cubicBezTo>
                      <a:pt x="174" y="219"/>
                      <a:pt x="192" y="234"/>
                      <a:pt x="196" y="254"/>
                    </a:cubicBezTo>
                    <a:cubicBezTo>
                      <a:pt x="183" y="259"/>
                      <a:pt x="168" y="263"/>
                      <a:pt x="153" y="263"/>
                    </a:cubicBezTo>
                    <a:cubicBezTo>
                      <a:pt x="137" y="263"/>
                      <a:pt x="123" y="259"/>
                      <a:pt x="110" y="254"/>
                    </a:cubicBezTo>
                    <a:close/>
                    <a:moveTo>
                      <a:pt x="175" y="109"/>
                    </a:moveTo>
                    <a:lnTo>
                      <a:pt x="175" y="109"/>
                    </a:lnTo>
                    <a:cubicBezTo>
                      <a:pt x="175" y="121"/>
                      <a:pt x="165" y="131"/>
                      <a:pt x="153" y="131"/>
                    </a:cubicBezTo>
                    <a:cubicBezTo>
                      <a:pt x="141" y="131"/>
                      <a:pt x="131" y="121"/>
                      <a:pt x="131" y="109"/>
                    </a:cubicBezTo>
                    <a:cubicBezTo>
                      <a:pt x="131" y="97"/>
                      <a:pt x="141" y="87"/>
                      <a:pt x="153" y="87"/>
                    </a:cubicBezTo>
                    <a:cubicBezTo>
                      <a:pt x="165" y="87"/>
                      <a:pt x="175" y="97"/>
                      <a:pt x="175" y="109"/>
                    </a:cubicBezTo>
                    <a:close/>
                    <a:moveTo>
                      <a:pt x="139" y="44"/>
                    </a:moveTo>
                    <a:lnTo>
                      <a:pt x="139" y="44"/>
                    </a:lnTo>
                    <a:cubicBezTo>
                      <a:pt x="110" y="51"/>
                      <a:pt x="87" y="78"/>
                      <a:pt x="87" y="109"/>
                    </a:cubicBezTo>
                    <a:cubicBezTo>
                      <a:pt x="87" y="146"/>
                      <a:pt x="117" y="174"/>
                      <a:pt x="153" y="174"/>
                    </a:cubicBezTo>
                    <a:cubicBezTo>
                      <a:pt x="189" y="174"/>
                      <a:pt x="219" y="146"/>
                      <a:pt x="219" y="109"/>
                    </a:cubicBezTo>
                    <a:cubicBezTo>
                      <a:pt x="219" y="78"/>
                      <a:pt x="196" y="51"/>
                      <a:pt x="166" y="44"/>
                    </a:cubicBezTo>
                    <a:cubicBezTo>
                      <a:pt x="220" y="51"/>
                      <a:pt x="262" y="97"/>
                      <a:pt x="262" y="152"/>
                    </a:cubicBezTo>
                    <a:cubicBezTo>
                      <a:pt x="262" y="181"/>
                      <a:pt x="251" y="208"/>
                      <a:pt x="233" y="227"/>
                    </a:cubicBezTo>
                    <a:cubicBezTo>
                      <a:pt x="219" y="197"/>
                      <a:pt x="188" y="174"/>
                      <a:pt x="153" y="174"/>
                    </a:cubicBezTo>
                    <a:cubicBezTo>
                      <a:pt x="117" y="174"/>
                      <a:pt x="86" y="197"/>
                      <a:pt x="73" y="227"/>
                    </a:cubicBezTo>
                    <a:cubicBezTo>
                      <a:pt x="55" y="208"/>
                      <a:pt x="43" y="181"/>
                      <a:pt x="43" y="152"/>
                    </a:cubicBezTo>
                    <a:cubicBezTo>
                      <a:pt x="43" y="97"/>
                      <a:pt x="86" y="51"/>
                      <a:pt x="139" y="44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3" name="Freeform 211"/>
              <p:cNvSpPr>
                <a:spLocks noChangeArrowheads="1"/>
              </p:cNvSpPr>
              <p:nvPr/>
            </p:nvSpPr>
            <p:spPr bwMode="auto">
              <a:xfrm>
                <a:off x="822326" y="2221677"/>
                <a:ext cx="77788" cy="77788"/>
              </a:xfrm>
              <a:custGeom>
                <a:avLst/>
                <a:gdLst>
                  <a:gd name="T0" fmla="*/ 0 w 220"/>
                  <a:gd name="T1" fmla="*/ 2 h 219"/>
                  <a:gd name="T2" fmla="*/ 2 w 220"/>
                  <a:gd name="T3" fmla="*/ 2 h 219"/>
                  <a:gd name="T4" fmla="*/ 2 w 220"/>
                  <a:gd name="T5" fmla="*/ 0 h 219"/>
                  <a:gd name="T6" fmla="*/ 0 w 220"/>
                  <a:gd name="T7" fmla="*/ 0 h 219"/>
                  <a:gd name="T8" fmla="*/ 0 w 220"/>
                  <a:gd name="T9" fmla="*/ 2 h 219"/>
                  <a:gd name="T10" fmla="*/ 0 w 220"/>
                  <a:gd name="T11" fmla="*/ 0 h 219"/>
                  <a:gd name="T12" fmla="*/ 2 w 220"/>
                  <a:gd name="T13" fmla="*/ 0 h 219"/>
                  <a:gd name="T14" fmla="*/ 2 w 220"/>
                  <a:gd name="T15" fmla="*/ 2 h 219"/>
                  <a:gd name="T16" fmla="*/ 0 w 220"/>
                  <a:gd name="T17" fmla="*/ 2 h 219"/>
                  <a:gd name="T18" fmla="*/ 0 w 220"/>
                  <a:gd name="T19" fmla="*/ 0 h 2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0" h="219">
                    <a:moveTo>
                      <a:pt x="0" y="218"/>
                    </a:moveTo>
                    <a:cubicBezTo>
                      <a:pt x="73" y="218"/>
                      <a:pt x="146" y="218"/>
                      <a:pt x="219" y="218"/>
                    </a:cubicBezTo>
                    <a:cubicBezTo>
                      <a:pt x="219" y="145"/>
                      <a:pt x="219" y="73"/>
                      <a:pt x="219" y="0"/>
                    </a:cubicBezTo>
                    <a:cubicBezTo>
                      <a:pt x="146" y="0"/>
                      <a:pt x="73" y="0"/>
                      <a:pt x="0" y="0"/>
                    </a:cubicBezTo>
                    <a:cubicBezTo>
                      <a:pt x="0" y="73"/>
                      <a:pt x="0" y="145"/>
                      <a:pt x="0" y="218"/>
                    </a:cubicBezTo>
                    <a:close/>
                    <a:moveTo>
                      <a:pt x="44" y="43"/>
                    </a:moveTo>
                    <a:cubicBezTo>
                      <a:pt x="88" y="43"/>
                      <a:pt x="132" y="43"/>
                      <a:pt x="175" y="43"/>
                    </a:cubicBezTo>
                    <a:cubicBezTo>
                      <a:pt x="175" y="87"/>
                      <a:pt x="175" y="131"/>
                      <a:pt x="175" y="175"/>
                    </a:cubicBezTo>
                    <a:cubicBezTo>
                      <a:pt x="132" y="175"/>
                      <a:pt x="88" y="175"/>
                      <a:pt x="44" y="175"/>
                    </a:cubicBezTo>
                    <a:cubicBezTo>
                      <a:pt x="44" y="131"/>
                      <a:pt x="44" y="87"/>
                      <a:pt x="44" y="4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4" name="Freeform 212"/>
              <p:cNvSpPr>
                <a:spLocks noChangeArrowheads="1"/>
              </p:cNvSpPr>
              <p:nvPr/>
            </p:nvSpPr>
            <p:spPr bwMode="auto">
              <a:xfrm>
                <a:off x="822326" y="2316927"/>
                <a:ext cx="77788" cy="77788"/>
              </a:xfrm>
              <a:custGeom>
                <a:avLst/>
                <a:gdLst>
                  <a:gd name="T0" fmla="*/ 0 w 220"/>
                  <a:gd name="T1" fmla="*/ 2 h 219"/>
                  <a:gd name="T2" fmla="*/ 2 w 220"/>
                  <a:gd name="T3" fmla="*/ 2 h 219"/>
                  <a:gd name="T4" fmla="*/ 2 w 220"/>
                  <a:gd name="T5" fmla="*/ 0 h 219"/>
                  <a:gd name="T6" fmla="*/ 0 w 220"/>
                  <a:gd name="T7" fmla="*/ 0 h 219"/>
                  <a:gd name="T8" fmla="*/ 0 w 220"/>
                  <a:gd name="T9" fmla="*/ 2 h 219"/>
                  <a:gd name="T10" fmla="*/ 0 w 220"/>
                  <a:gd name="T11" fmla="*/ 0 h 219"/>
                  <a:gd name="T12" fmla="*/ 2 w 220"/>
                  <a:gd name="T13" fmla="*/ 0 h 219"/>
                  <a:gd name="T14" fmla="*/ 2 w 220"/>
                  <a:gd name="T15" fmla="*/ 2 h 219"/>
                  <a:gd name="T16" fmla="*/ 0 w 220"/>
                  <a:gd name="T17" fmla="*/ 2 h 219"/>
                  <a:gd name="T18" fmla="*/ 0 w 220"/>
                  <a:gd name="T19" fmla="*/ 0 h 2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0" h="219">
                    <a:moveTo>
                      <a:pt x="0" y="218"/>
                    </a:moveTo>
                    <a:cubicBezTo>
                      <a:pt x="73" y="218"/>
                      <a:pt x="146" y="218"/>
                      <a:pt x="219" y="218"/>
                    </a:cubicBezTo>
                    <a:cubicBezTo>
                      <a:pt x="219" y="145"/>
                      <a:pt x="219" y="73"/>
                      <a:pt x="219" y="0"/>
                    </a:cubicBezTo>
                    <a:cubicBezTo>
                      <a:pt x="146" y="0"/>
                      <a:pt x="73" y="0"/>
                      <a:pt x="0" y="0"/>
                    </a:cubicBezTo>
                    <a:cubicBezTo>
                      <a:pt x="0" y="73"/>
                      <a:pt x="0" y="145"/>
                      <a:pt x="0" y="218"/>
                    </a:cubicBezTo>
                    <a:close/>
                    <a:moveTo>
                      <a:pt x="44" y="43"/>
                    </a:moveTo>
                    <a:cubicBezTo>
                      <a:pt x="88" y="43"/>
                      <a:pt x="132" y="43"/>
                      <a:pt x="175" y="43"/>
                    </a:cubicBezTo>
                    <a:cubicBezTo>
                      <a:pt x="175" y="87"/>
                      <a:pt x="175" y="130"/>
                      <a:pt x="175" y="174"/>
                    </a:cubicBezTo>
                    <a:cubicBezTo>
                      <a:pt x="132" y="174"/>
                      <a:pt x="88" y="174"/>
                      <a:pt x="44" y="174"/>
                    </a:cubicBezTo>
                    <a:cubicBezTo>
                      <a:pt x="44" y="130"/>
                      <a:pt x="44" y="87"/>
                      <a:pt x="44" y="4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5" name="Freeform 213"/>
              <p:cNvSpPr>
                <a:spLocks noChangeArrowheads="1"/>
              </p:cNvSpPr>
              <p:nvPr/>
            </p:nvSpPr>
            <p:spPr bwMode="auto">
              <a:xfrm>
                <a:off x="822326" y="2410590"/>
                <a:ext cx="77788" cy="77788"/>
              </a:xfrm>
              <a:custGeom>
                <a:avLst/>
                <a:gdLst>
                  <a:gd name="T0" fmla="*/ 0 w 220"/>
                  <a:gd name="T1" fmla="*/ 2 h 219"/>
                  <a:gd name="T2" fmla="*/ 2 w 220"/>
                  <a:gd name="T3" fmla="*/ 2 h 219"/>
                  <a:gd name="T4" fmla="*/ 2 w 220"/>
                  <a:gd name="T5" fmla="*/ 0 h 219"/>
                  <a:gd name="T6" fmla="*/ 0 w 220"/>
                  <a:gd name="T7" fmla="*/ 0 h 219"/>
                  <a:gd name="T8" fmla="*/ 0 w 220"/>
                  <a:gd name="T9" fmla="*/ 2 h 219"/>
                  <a:gd name="T10" fmla="*/ 0 w 220"/>
                  <a:gd name="T11" fmla="*/ 0 h 219"/>
                  <a:gd name="T12" fmla="*/ 2 w 220"/>
                  <a:gd name="T13" fmla="*/ 0 h 219"/>
                  <a:gd name="T14" fmla="*/ 2 w 220"/>
                  <a:gd name="T15" fmla="*/ 2 h 219"/>
                  <a:gd name="T16" fmla="*/ 0 w 220"/>
                  <a:gd name="T17" fmla="*/ 2 h 219"/>
                  <a:gd name="T18" fmla="*/ 0 w 220"/>
                  <a:gd name="T19" fmla="*/ 0 h 2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0" h="219">
                    <a:moveTo>
                      <a:pt x="0" y="218"/>
                    </a:moveTo>
                    <a:cubicBezTo>
                      <a:pt x="73" y="218"/>
                      <a:pt x="146" y="218"/>
                      <a:pt x="219" y="218"/>
                    </a:cubicBezTo>
                    <a:cubicBezTo>
                      <a:pt x="219" y="145"/>
                      <a:pt x="219" y="73"/>
                      <a:pt x="219" y="0"/>
                    </a:cubicBezTo>
                    <a:cubicBezTo>
                      <a:pt x="146" y="0"/>
                      <a:pt x="73" y="0"/>
                      <a:pt x="0" y="0"/>
                    </a:cubicBezTo>
                    <a:cubicBezTo>
                      <a:pt x="0" y="73"/>
                      <a:pt x="0" y="145"/>
                      <a:pt x="0" y="218"/>
                    </a:cubicBezTo>
                    <a:close/>
                    <a:moveTo>
                      <a:pt x="44" y="44"/>
                    </a:moveTo>
                    <a:cubicBezTo>
                      <a:pt x="88" y="44"/>
                      <a:pt x="132" y="44"/>
                      <a:pt x="175" y="44"/>
                    </a:cubicBezTo>
                    <a:cubicBezTo>
                      <a:pt x="175" y="88"/>
                      <a:pt x="175" y="131"/>
                      <a:pt x="175" y="175"/>
                    </a:cubicBezTo>
                    <a:cubicBezTo>
                      <a:pt x="132" y="175"/>
                      <a:pt x="88" y="175"/>
                      <a:pt x="44" y="175"/>
                    </a:cubicBezTo>
                    <a:cubicBezTo>
                      <a:pt x="44" y="131"/>
                      <a:pt x="44" y="88"/>
                      <a:pt x="44" y="44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6" name="Freeform 214"/>
              <p:cNvSpPr>
                <a:spLocks noChangeArrowheads="1"/>
              </p:cNvSpPr>
              <p:nvPr/>
            </p:nvSpPr>
            <p:spPr bwMode="auto">
              <a:xfrm>
                <a:off x="933451" y="2285177"/>
                <a:ext cx="93663" cy="14288"/>
              </a:xfrm>
              <a:custGeom>
                <a:avLst/>
                <a:gdLst>
                  <a:gd name="T0" fmla="*/ 0 w 263"/>
                  <a:gd name="T1" fmla="*/ 0 h 44"/>
                  <a:gd name="T2" fmla="*/ 3 w 263"/>
                  <a:gd name="T3" fmla="*/ 0 h 44"/>
                  <a:gd name="T4" fmla="*/ 3 w 263"/>
                  <a:gd name="T5" fmla="*/ 0 h 44"/>
                  <a:gd name="T6" fmla="*/ 0 w 263"/>
                  <a:gd name="T7" fmla="*/ 0 h 44"/>
                  <a:gd name="T8" fmla="*/ 0 w 263"/>
                  <a:gd name="T9" fmla="*/ 0 h 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3" h="44">
                    <a:moveTo>
                      <a:pt x="0" y="43"/>
                    </a:moveTo>
                    <a:cubicBezTo>
                      <a:pt x="88" y="43"/>
                      <a:pt x="175" y="43"/>
                      <a:pt x="262" y="43"/>
                    </a:cubicBezTo>
                    <a:cubicBezTo>
                      <a:pt x="262" y="29"/>
                      <a:pt x="262" y="14"/>
                      <a:pt x="262" y="0"/>
                    </a:cubicBezTo>
                    <a:cubicBezTo>
                      <a:pt x="175" y="0"/>
                      <a:pt x="88" y="0"/>
                      <a:pt x="0" y="0"/>
                    </a:cubicBezTo>
                    <a:cubicBezTo>
                      <a:pt x="0" y="14"/>
                      <a:pt x="0" y="29"/>
                      <a:pt x="0" y="43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7" name="Freeform 215"/>
              <p:cNvSpPr>
                <a:spLocks noChangeArrowheads="1"/>
              </p:cNvSpPr>
              <p:nvPr/>
            </p:nvSpPr>
            <p:spPr bwMode="auto">
              <a:xfrm>
                <a:off x="933451" y="2378840"/>
                <a:ext cx="93663" cy="14288"/>
              </a:xfrm>
              <a:custGeom>
                <a:avLst/>
                <a:gdLst>
                  <a:gd name="T0" fmla="*/ 0 w 263"/>
                  <a:gd name="T1" fmla="*/ 0 h 45"/>
                  <a:gd name="T2" fmla="*/ 3 w 263"/>
                  <a:gd name="T3" fmla="*/ 0 h 45"/>
                  <a:gd name="T4" fmla="*/ 3 w 263"/>
                  <a:gd name="T5" fmla="*/ 0 h 45"/>
                  <a:gd name="T6" fmla="*/ 0 w 263"/>
                  <a:gd name="T7" fmla="*/ 0 h 45"/>
                  <a:gd name="T8" fmla="*/ 0 w 263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3" h="45">
                    <a:moveTo>
                      <a:pt x="0" y="44"/>
                    </a:moveTo>
                    <a:cubicBezTo>
                      <a:pt x="88" y="44"/>
                      <a:pt x="175" y="44"/>
                      <a:pt x="262" y="44"/>
                    </a:cubicBezTo>
                    <a:cubicBezTo>
                      <a:pt x="262" y="29"/>
                      <a:pt x="262" y="15"/>
                      <a:pt x="262" y="0"/>
                    </a:cubicBezTo>
                    <a:cubicBezTo>
                      <a:pt x="175" y="0"/>
                      <a:pt x="88" y="0"/>
                      <a:pt x="0" y="0"/>
                    </a:cubicBezTo>
                    <a:cubicBezTo>
                      <a:pt x="0" y="15"/>
                      <a:pt x="0" y="29"/>
                      <a:pt x="0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8" name="Freeform 216"/>
              <p:cNvSpPr>
                <a:spLocks noChangeArrowheads="1"/>
              </p:cNvSpPr>
              <p:nvPr/>
            </p:nvSpPr>
            <p:spPr bwMode="auto">
              <a:xfrm>
                <a:off x="933451" y="2474090"/>
                <a:ext cx="93663" cy="14288"/>
              </a:xfrm>
              <a:custGeom>
                <a:avLst/>
                <a:gdLst>
                  <a:gd name="T0" fmla="*/ 0 w 263"/>
                  <a:gd name="T1" fmla="*/ 0 h 44"/>
                  <a:gd name="T2" fmla="*/ 3 w 263"/>
                  <a:gd name="T3" fmla="*/ 0 h 44"/>
                  <a:gd name="T4" fmla="*/ 3 w 263"/>
                  <a:gd name="T5" fmla="*/ 0 h 44"/>
                  <a:gd name="T6" fmla="*/ 0 w 263"/>
                  <a:gd name="T7" fmla="*/ 0 h 44"/>
                  <a:gd name="T8" fmla="*/ 0 w 263"/>
                  <a:gd name="T9" fmla="*/ 0 h 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3" h="44">
                    <a:moveTo>
                      <a:pt x="0" y="43"/>
                    </a:moveTo>
                    <a:cubicBezTo>
                      <a:pt x="88" y="43"/>
                      <a:pt x="175" y="43"/>
                      <a:pt x="262" y="43"/>
                    </a:cubicBezTo>
                    <a:cubicBezTo>
                      <a:pt x="262" y="29"/>
                      <a:pt x="262" y="14"/>
                      <a:pt x="262" y="0"/>
                    </a:cubicBezTo>
                    <a:cubicBezTo>
                      <a:pt x="175" y="0"/>
                      <a:pt x="88" y="0"/>
                      <a:pt x="0" y="0"/>
                    </a:cubicBezTo>
                    <a:cubicBezTo>
                      <a:pt x="0" y="14"/>
                      <a:pt x="0" y="29"/>
                      <a:pt x="0" y="43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99" name="Freeform 217"/>
              <p:cNvSpPr>
                <a:spLocks noChangeArrowheads="1"/>
              </p:cNvSpPr>
              <p:nvPr/>
            </p:nvSpPr>
            <p:spPr bwMode="auto">
              <a:xfrm>
                <a:off x="933451" y="2442340"/>
                <a:ext cx="93663" cy="14288"/>
              </a:xfrm>
              <a:custGeom>
                <a:avLst/>
                <a:gdLst>
                  <a:gd name="T0" fmla="*/ 0 w 263"/>
                  <a:gd name="T1" fmla="*/ 0 h 45"/>
                  <a:gd name="T2" fmla="*/ 3 w 263"/>
                  <a:gd name="T3" fmla="*/ 0 h 45"/>
                  <a:gd name="T4" fmla="*/ 3 w 263"/>
                  <a:gd name="T5" fmla="*/ 0 h 45"/>
                  <a:gd name="T6" fmla="*/ 0 w 263"/>
                  <a:gd name="T7" fmla="*/ 0 h 45"/>
                  <a:gd name="T8" fmla="*/ 0 w 263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3" h="45">
                    <a:moveTo>
                      <a:pt x="0" y="44"/>
                    </a:moveTo>
                    <a:cubicBezTo>
                      <a:pt x="88" y="44"/>
                      <a:pt x="175" y="44"/>
                      <a:pt x="262" y="44"/>
                    </a:cubicBezTo>
                    <a:cubicBezTo>
                      <a:pt x="262" y="29"/>
                      <a:pt x="262" y="15"/>
                      <a:pt x="262" y="0"/>
                    </a:cubicBezTo>
                    <a:cubicBezTo>
                      <a:pt x="175" y="0"/>
                      <a:pt x="88" y="0"/>
                      <a:pt x="0" y="0"/>
                    </a:cubicBezTo>
                    <a:cubicBezTo>
                      <a:pt x="0" y="15"/>
                      <a:pt x="0" y="29"/>
                      <a:pt x="0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00" name="Freeform 218"/>
              <p:cNvSpPr>
                <a:spLocks noChangeArrowheads="1"/>
              </p:cNvSpPr>
              <p:nvPr/>
            </p:nvSpPr>
            <p:spPr bwMode="auto">
              <a:xfrm>
                <a:off x="849314" y="2223265"/>
                <a:ext cx="79375" cy="53975"/>
              </a:xfrm>
              <a:custGeom>
                <a:avLst/>
                <a:gdLst>
                  <a:gd name="T0" fmla="*/ 1 w 227"/>
                  <a:gd name="T1" fmla="*/ 2 h 156"/>
                  <a:gd name="T2" fmla="*/ 0 w 227"/>
                  <a:gd name="T3" fmla="*/ 1 h 156"/>
                  <a:gd name="T4" fmla="*/ 0 w 227"/>
                  <a:gd name="T5" fmla="*/ 1 h 156"/>
                  <a:gd name="T6" fmla="*/ 1 w 227"/>
                  <a:gd name="T7" fmla="*/ 1 h 156"/>
                  <a:gd name="T8" fmla="*/ 2 w 227"/>
                  <a:gd name="T9" fmla="*/ 0 h 156"/>
                  <a:gd name="T10" fmla="*/ 2 w 227"/>
                  <a:gd name="T11" fmla="*/ 0 h 156"/>
                  <a:gd name="T12" fmla="*/ 1 w 227"/>
                  <a:gd name="T13" fmla="*/ 2 h 15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7" h="156">
                    <a:moveTo>
                      <a:pt x="57" y="155"/>
                    </a:moveTo>
                    <a:cubicBezTo>
                      <a:pt x="38" y="136"/>
                      <a:pt x="19" y="118"/>
                      <a:pt x="0" y="99"/>
                    </a:cubicBezTo>
                    <a:cubicBezTo>
                      <a:pt x="11" y="89"/>
                      <a:pt x="21" y="78"/>
                      <a:pt x="31" y="68"/>
                    </a:cubicBezTo>
                    <a:cubicBezTo>
                      <a:pt x="42" y="78"/>
                      <a:pt x="52" y="88"/>
                      <a:pt x="62" y="98"/>
                    </a:cubicBezTo>
                    <a:cubicBezTo>
                      <a:pt x="108" y="65"/>
                      <a:pt x="154" y="33"/>
                      <a:pt x="200" y="0"/>
                    </a:cubicBezTo>
                    <a:cubicBezTo>
                      <a:pt x="209" y="12"/>
                      <a:pt x="218" y="23"/>
                      <a:pt x="226" y="35"/>
                    </a:cubicBezTo>
                    <a:cubicBezTo>
                      <a:pt x="170" y="75"/>
                      <a:pt x="114" y="115"/>
                      <a:pt x="57" y="155"/>
                    </a:cubicBezTo>
                  </a:path>
                </a:pathLst>
              </a:custGeom>
              <a:solidFill>
                <a:srgbClr val="35C9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01" name="Freeform 219"/>
              <p:cNvSpPr>
                <a:spLocks noChangeArrowheads="1"/>
              </p:cNvSpPr>
              <p:nvPr/>
            </p:nvSpPr>
            <p:spPr bwMode="auto">
              <a:xfrm>
                <a:off x="849314" y="2318515"/>
                <a:ext cx="79375" cy="55563"/>
              </a:xfrm>
              <a:custGeom>
                <a:avLst/>
                <a:gdLst>
                  <a:gd name="T0" fmla="*/ 1 w 227"/>
                  <a:gd name="T1" fmla="*/ 2 h 157"/>
                  <a:gd name="T2" fmla="*/ 0 w 227"/>
                  <a:gd name="T3" fmla="*/ 1 h 157"/>
                  <a:gd name="T4" fmla="*/ 0 w 227"/>
                  <a:gd name="T5" fmla="*/ 1 h 157"/>
                  <a:gd name="T6" fmla="*/ 1 w 227"/>
                  <a:gd name="T7" fmla="*/ 1 h 157"/>
                  <a:gd name="T8" fmla="*/ 2 w 227"/>
                  <a:gd name="T9" fmla="*/ 0 h 157"/>
                  <a:gd name="T10" fmla="*/ 2 w 227"/>
                  <a:gd name="T11" fmla="*/ 0 h 157"/>
                  <a:gd name="T12" fmla="*/ 1 w 227"/>
                  <a:gd name="T13" fmla="*/ 2 h 15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7" h="157">
                    <a:moveTo>
                      <a:pt x="57" y="156"/>
                    </a:moveTo>
                    <a:cubicBezTo>
                      <a:pt x="38" y="137"/>
                      <a:pt x="19" y="118"/>
                      <a:pt x="0" y="99"/>
                    </a:cubicBezTo>
                    <a:cubicBezTo>
                      <a:pt x="11" y="89"/>
                      <a:pt x="21" y="78"/>
                      <a:pt x="31" y="68"/>
                    </a:cubicBezTo>
                    <a:cubicBezTo>
                      <a:pt x="42" y="78"/>
                      <a:pt x="52" y="89"/>
                      <a:pt x="62" y="99"/>
                    </a:cubicBezTo>
                    <a:cubicBezTo>
                      <a:pt x="108" y="66"/>
                      <a:pt x="154" y="33"/>
                      <a:pt x="200" y="0"/>
                    </a:cubicBezTo>
                    <a:cubicBezTo>
                      <a:pt x="209" y="12"/>
                      <a:pt x="218" y="24"/>
                      <a:pt x="226" y="36"/>
                    </a:cubicBezTo>
                    <a:cubicBezTo>
                      <a:pt x="170" y="76"/>
                      <a:pt x="114" y="116"/>
                      <a:pt x="57" y="156"/>
                    </a:cubicBezTo>
                  </a:path>
                </a:pathLst>
              </a:custGeom>
              <a:solidFill>
                <a:srgbClr val="35C9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02" name="Freeform 220"/>
              <p:cNvSpPr>
                <a:spLocks noChangeArrowheads="1"/>
              </p:cNvSpPr>
              <p:nvPr/>
            </p:nvSpPr>
            <p:spPr bwMode="auto">
              <a:xfrm>
                <a:off x="849314" y="2412177"/>
                <a:ext cx="79375" cy="55563"/>
              </a:xfrm>
              <a:custGeom>
                <a:avLst/>
                <a:gdLst>
                  <a:gd name="T0" fmla="*/ 1 w 227"/>
                  <a:gd name="T1" fmla="*/ 2 h 157"/>
                  <a:gd name="T2" fmla="*/ 0 w 227"/>
                  <a:gd name="T3" fmla="*/ 1 h 157"/>
                  <a:gd name="T4" fmla="*/ 0 w 227"/>
                  <a:gd name="T5" fmla="*/ 1 h 157"/>
                  <a:gd name="T6" fmla="*/ 1 w 227"/>
                  <a:gd name="T7" fmla="*/ 1 h 157"/>
                  <a:gd name="T8" fmla="*/ 2 w 227"/>
                  <a:gd name="T9" fmla="*/ 0 h 157"/>
                  <a:gd name="T10" fmla="*/ 2 w 227"/>
                  <a:gd name="T11" fmla="*/ 0 h 157"/>
                  <a:gd name="T12" fmla="*/ 1 w 227"/>
                  <a:gd name="T13" fmla="*/ 2 h 15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7" h="157">
                    <a:moveTo>
                      <a:pt x="57" y="156"/>
                    </a:moveTo>
                    <a:cubicBezTo>
                      <a:pt x="38" y="137"/>
                      <a:pt x="19" y="118"/>
                      <a:pt x="0" y="99"/>
                    </a:cubicBezTo>
                    <a:cubicBezTo>
                      <a:pt x="11" y="89"/>
                      <a:pt x="21" y="78"/>
                      <a:pt x="31" y="68"/>
                    </a:cubicBezTo>
                    <a:cubicBezTo>
                      <a:pt x="42" y="78"/>
                      <a:pt x="52" y="89"/>
                      <a:pt x="62" y="99"/>
                    </a:cubicBezTo>
                    <a:cubicBezTo>
                      <a:pt x="108" y="66"/>
                      <a:pt x="154" y="33"/>
                      <a:pt x="200" y="0"/>
                    </a:cubicBezTo>
                    <a:cubicBezTo>
                      <a:pt x="209" y="12"/>
                      <a:pt x="218" y="24"/>
                      <a:pt x="226" y="36"/>
                    </a:cubicBezTo>
                    <a:cubicBezTo>
                      <a:pt x="170" y="76"/>
                      <a:pt x="114" y="116"/>
                      <a:pt x="57" y="156"/>
                    </a:cubicBezTo>
                  </a:path>
                </a:pathLst>
              </a:custGeom>
              <a:solidFill>
                <a:srgbClr val="35C9C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03" name="Freeform 221"/>
              <p:cNvSpPr>
                <a:spLocks noChangeArrowheads="1"/>
              </p:cNvSpPr>
              <p:nvPr/>
            </p:nvSpPr>
            <p:spPr bwMode="auto">
              <a:xfrm>
                <a:off x="933451" y="2348677"/>
                <a:ext cx="93663" cy="14288"/>
              </a:xfrm>
              <a:custGeom>
                <a:avLst/>
                <a:gdLst>
                  <a:gd name="T0" fmla="*/ 0 w 263"/>
                  <a:gd name="T1" fmla="*/ 0 h 44"/>
                  <a:gd name="T2" fmla="*/ 3 w 263"/>
                  <a:gd name="T3" fmla="*/ 0 h 44"/>
                  <a:gd name="T4" fmla="*/ 3 w 263"/>
                  <a:gd name="T5" fmla="*/ 0 h 44"/>
                  <a:gd name="T6" fmla="*/ 0 w 263"/>
                  <a:gd name="T7" fmla="*/ 0 h 44"/>
                  <a:gd name="T8" fmla="*/ 0 w 263"/>
                  <a:gd name="T9" fmla="*/ 0 h 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3" h="44">
                    <a:moveTo>
                      <a:pt x="0" y="43"/>
                    </a:moveTo>
                    <a:cubicBezTo>
                      <a:pt x="88" y="43"/>
                      <a:pt x="175" y="43"/>
                      <a:pt x="262" y="43"/>
                    </a:cubicBezTo>
                    <a:cubicBezTo>
                      <a:pt x="262" y="29"/>
                      <a:pt x="262" y="14"/>
                      <a:pt x="262" y="0"/>
                    </a:cubicBezTo>
                    <a:cubicBezTo>
                      <a:pt x="175" y="0"/>
                      <a:pt x="88" y="0"/>
                      <a:pt x="0" y="0"/>
                    </a:cubicBezTo>
                    <a:cubicBezTo>
                      <a:pt x="0" y="14"/>
                      <a:pt x="0" y="29"/>
                      <a:pt x="0" y="43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04" name="Freeform 222"/>
              <p:cNvSpPr>
                <a:spLocks noChangeArrowheads="1"/>
              </p:cNvSpPr>
              <p:nvPr/>
            </p:nvSpPr>
            <p:spPr bwMode="auto">
              <a:xfrm>
                <a:off x="933451" y="2253427"/>
                <a:ext cx="30163" cy="14288"/>
              </a:xfrm>
              <a:custGeom>
                <a:avLst/>
                <a:gdLst>
                  <a:gd name="T0" fmla="*/ 1 w 88"/>
                  <a:gd name="T1" fmla="*/ 0 h 45"/>
                  <a:gd name="T2" fmla="*/ 0 w 88"/>
                  <a:gd name="T3" fmla="*/ 0 h 45"/>
                  <a:gd name="T4" fmla="*/ 0 w 88"/>
                  <a:gd name="T5" fmla="*/ 0 h 45"/>
                  <a:gd name="T6" fmla="*/ 1 w 88"/>
                  <a:gd name="T7" fmla="*/ 0 h 45"/>
                  <a:gd name="T8" fmla="*/ 1 w 88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8" h="45">
                    <a:moveTo>
                      <a:pt x="87" y="0"/>
                    </a:moveTo>
                    <a:cubicBezTo>
                      <a:pt x="58" y="0"/>
                      <a:pt x="29" y="0"/>
                      <a:pt x="0" y="0"/>
                    </a:cubicBezTo>
                    <a:cubicBezTo>
                      <a:pt x="0" y="15"/>
                      <a:pt x="0" y="29"/>
                      <a:pt x="0" y="44"/>
                    </a:cubicBezTo>
                    <a:cubicBezTo>
                      <a:pt x="29" y="44"/>
                      <a:pt x="58" y="44"/>
                      <a:pt x="87" y="44"/>
                    </a:cubicBezTo>
                    <a:cubicBezTo>
                      <a:pt x="87" y="29"/>
                      <a:pt x="87" y="15"/>
                      <a:pt x="87" y="0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19" name="Группа 18"/>
            <p:cNvGrpSpPr/>
            <p:nvPr/>
          </p:nvGrpSpPr>
          <p:grpSpPr>
            <a:xfrm>
              <a:off x="3675824" y="5623282"/>
              <a:ext cx="487362" cy="487362"/>
              <a:chOff x="2560639" y="5474465"/>
              <a:chExt cx="487362" cy="487362"/>
            </a:xfrm>
          </p:grpSpPr>
          <p:sp>
            <p:nvSpPr>
              <p:cNvPr id="55" name="Freeform 223"/>
              <p:cNvSpPr>
                <a:spLocks noChangeArrowheads="1"/>
              </p:cNvSpPr>
              <p:nvPr/>
            </p:nvSpPr>
            <p:spPr bwMode="auto">
              <a:xfrm>
                <a:off x="2671764" y="5617340"/>
                <a:ext cx="266700" cy="61913"/>
              </a:xfrm>
              <a:custGeom>
                <a:avLst/>
                <a:gdLst>
                  <a:gd name="T0" fmla="*/ 9 w 746"/>
                  <a:gd name="T1" fmla="*/ 2 h 175"/>
                  <a:gd name="T2" fmla="*/ 0 w 746"/>
                  <a:gd name="T3" fmla="*/ 2 h 175"/>
                  <a:gd name="T4" fmla="*/ 0 w 746"/>
                  <a:gd name="T5" fmla="*/ 0 h 175"/>
                  <a:gd name="T6" fmla="*/ 9 w 746"/>
                  <a:gd name="T7" fmla="*/ 0 h 175"/>
                  <a:gd name="T8" fmla="*/ 9 w 746"/>
                  <a:gd name="T9" fmla="*/ 2 h 1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46" h="175">
                    <a:moveTo>
                      <a:pt x="745" y="174"/>
                    </a:moveTo>
                    <a:cubicBezTo>
                      <a:pt x="497" y="174"/>
                      <a:pt x="248" y="174"/>
                      <a:pt x="0" y="174"/>
                    </a:cubicBezTo>
                    <a:cubicBezTo>
                      <a:pt x="0" y="116"/>
                      <a:pt x="0" y="58"/>
                      <a:pt x="0" y="0"/>
                    </a:cubicBezTo>
                    <a:cubicBezTo>
                      <a:pt x="248" y="0"/>
                      <a:pt x="497" y="0"/>
                      <a:pt x="745" y="0"/>
                    </a:cubicBezTo>
                    <a:cubicBezTo>
                      <a:pt x="745" y="58"/>
                      <a:pt x="745" y="116"/>
                      <a:pt x="745" y="174"/>
                    </a:cubicBezTo>
                  </a:path>
                </a:pathLst>
              </a:custGeom>
              <a:solidFill>
                <a:srgbClr val="8DC63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6" name="Freeform 224"/>
              <p:cNvSpPr>
                <a:spLocks noChangeArrowheads="1"/>
              </p:cNvSpPr>
              <p:nvPr/>
            </p:nvSpPr>
            <p:spPr bwMode="auto">
              <a:xfrm>
                <a:off x="2703514" y="5712590"/>
                <a:ext cx="109538" cy="77788"/>
              </a:xfrm>
              <a:custGeom>
                <a:avLst/>
                <a:gdLst>
                  <a:gd name="T0" fmla="*/ 4 w 307"/>
                  <a:gd name="T1" fmla="*/ 2 h 219"/>
                  <a:gd name="T2" fmla="*/ 0 w 307"/>
                  <a:gd name="T3" fmla="*/ 2 h 219"/>
                  <a:gd name="T4" fmla="*/ 0 w 307"/>
                  <a:gd name="T5" fmla="*/ 0 h 219"/>
                  <a:gd name="T6" fmla="*/ 4 w 307"/>
                  <a:gd name="T7" fmla="*/ 0 h 219"/>
                  <a:gd name="T8" fmla="*/ 4 w 307"/>
                  <a:gd name="T9" fmla="*/ 2 h 2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07" h="219">
                    <a:moveTo>
                      <a:pt x="306" y="218"/>
                    </a:moveTo>
                    <a:cubicBezTo>
                      <a:pt x="204" y="218"/>
                      <a:pt x="102" y="218"/>
                      <a:pt x="0" y="218"/>
                    </a:cubicBezTo>
                    <a:cubicBezTo>
                      <a:pt x="0" y="146"/>
                      <a:pt x="0" y="73"/>
                      <a:pt x="0" y="0"/>
                    </a:cubicBezTo>
                    <a:cubicBezTo>
                      <a:pt x="102" y="0"/>
                      <a:pt x="204" y="0"/>
                      <a:pt x="306" y="0"/>
                    </a:cubicBezTo>
                    <a:cubicBezTo>
                      <a:pt x="306" y="73"/>
                      <a:pt x="306" y="146"/>
                      <a:pt x="306" y="218"/>
                    </a:cubicBezTo>
                  </a:path>
                </a:pathLst>
              </a:custGeom>
              <a:solidFill>
                <a:srgbClr val="8DC63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7" name="Freeform 225"/>
              <p:cNvSpPr>
                <a:spLocks noChangeArrowheads="1"/>
              </p:cNvSpPr>
              <p:nvPr/>
            </p:nvSpPr>
            <p:spPr bwMode="auto">
              <a:xfrm>
                <a:off x="2663826" y="5609402"/>
                <a:ext cx="282575" cy="219075"/>
              </a:xfrm>
              <a:custGeom>
                <a:avLst/>
                <a:gdLst>
                  <a:gd name="T0" fmla="*/ 9 w 789"/>
                  <a:gd name="T1" fmla="*/ 7 h 614"/>
                  <a:gd name="T2" fmla="*/ 0 w 789"/>
                  <a:gd name="T3" fmla="*/ 7 h 614"/>
                  <a:gd name="T4" fmla="*/ 0 w 789"/>
                  <a:gd name="T5" fmla="*/ 0 h 614"/>
                  <a:gd name="T6" fmla="*/ 9 w 789"/>
                  <a:gd name="T7" fmla="*/ 0 h 614"/>
                  <a:gd name="T8" fmla="*/ 9 w 789"/>
                  <a:gd name="T9" fmla="*/ 7 h 614"/>
                  <a:gd name="T10" fmla="*/ 0 w 789"/>
                  <a:gd name="T11" fmla="*/ 7 h 614"/>
                  <a:gd name="T12" fmla="*/ 9 w 789"/>
                  <a:gd name="T13" fmla="*/ 7 h 614"/>
                  <a:gd name="T14" fmla="*/ 9 w 789"/>
                  <a:gd name="T15" fmla="*/ 0 h 614"/>
                  <a:gd name="T16" fmla="*/ 0 w 789"/>
                  <a:gd name="T17" fmla="*/ 0 h 614"/>
                  <a:gd name="T18" fmla="*/ 0 w 789"/>
                  <a:gd name="T19" fmla="*/ 7 h 61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789" h="614">
                    <a:moveTo>
                      <a:pt x="788" y="613"/>
                    </a:moveTo>
                    <a:cubicBezTo>
                      <a:pt x="525" y="613"/>
                      <a:pt x="263" y="613"/>
                      <a:pt x="0" y="613"/>
                    </a:cubicBezTo>
                    <a:cubicBezTo>
                      <a:pt x="0" y="409"/>
                      <a:pt x="0" y="205"/>
                      <a:pt x="0" y="0"/>
                    </a:cubicBezTo>
                    <a:cubicBezTo>
                      <a:pt x="263" y="0"/>
                      <a:pt x="525" y="0"/>
                      <a:pt x="788" y="0"/>
                    </a:cubicBezTo>
                    <a:cubicBezTo>
                      <a:pt x="788" y="205"/>
                      <a:pt x="788" y="409"/>
                      <a:pt x="788" y="613"/>
                    </a:cubicBezTo>
                    <a:close/>
                    <a:moveTo>
                      <a:pt x="43" y="569"/>
                    </a:moveTo>
                    <a:cubicBezTo>
                      <a:pt x="277" y="569"/>
                      <a:pt x="510" y="569"/>
                      <a:pt x="744" y="569"/>
                    </a:cubicBezTo>
                    <a:cubicBezTo>
                      <a:pt x="744" y="394"/>
                      <a:pt x="744" y="219"/>
                      <a:pt x="744" y="44"/>
                    </a:cubicBezTo>
                    <a:cubicBezTo>
                      <a:pt x="510" y="44"/>
                      <a:pt x="277" y="44"/>
                      <a:pt x="43" y="44"/>
                    </a:cubicBezTo>
                    <a:cubicBezTo>
                      <a:pt x="43" y="219"/>
                      <a:pt x="43" y="394"/>
                      <a:pt x="43" y="569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8" name="Freeform 226"/>
              <p:cNvSpPr>
                <a:spLocks noChangeArrowheads="1"/>
              </p:cNvSpPr>
              <p:nvPr/>
            </p:nvSpPr>
            <p:spPr bwMode="auto">
              <a:xfrm>
                <a:off x="2908301" y="5474465"/>
                <a:ext cx="139700" cy="141288"/>
              </a:xfrm>
              <a:custGeom>
                <a:avLst/>
                <a:gdLst>
                  <a:gd name="T0" fmla="*/ 2 w 394"/>
                  <a:gd name="T1" fmla="*/ 4 h 396"/>
                  <a:gd name="T2" fmla="*/ 2 w 394"/>
                  <a:gd name="T3" fmla="*/ 4 h 396"/>
                  <a:gd name="T4" fmla="*/ 0 w 394"/>
                  <a:gd name="T5" fmla="*/ 2 h 396"/>
                  <a:gd name="T6" fmla="*/ 2 w 394"/>
                  <a:gd name="T7" fmla="*/ 0 h 396"/>
                  <a:gd name="T8" fmla="*/ 4 w 394"/>
                  <a:gd name="T9" fmla="*/ 2 h 396"/>
                  <a:gd name="T10" fmla="*/ 2 w 394"/>
                  <a:gd name="T11" fmla="*/ 4 h 396"/>
                  <a:gd name="T12" fmla="*/ 2 w 394"/>
                  <a:gd name="T13" fmla="*/ 0 h 396"/>
                  <a:gd name="T14" fmla="*/ 2 w 394"/>
                  <a:gd name="T15" fmla="*/ 0 h 396"/>
                  <a:gd name="T16" fmla="*/ 0 w 394"/>
                  <a:gd name="T17" fmla="*/ 2 h 396"/>
                  <a:gd name="T18" fmla="*/ 2 w 394"/>
                  <a:gd name="T19" fmla="*/ 4 h 396"/>
                  <a:gd name="T20" fmla="*/ 4 w 394"/>
                  <a:gd name="T21" fmla="*/ 2 h 396"/>
                  <a:gd name="T22" fmla="*/ 2 w 394"/>
                  <a:gd name="T23" fmla="*/ 0 h 39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94" h="396">
                    <a:moveTo>
                      <a:pt x="196" y="395"/>
                    </a:moveTo>
                    <a:lnTo>
                      <a:pt x="196" y="395"/>
                    </a:lnTo>
                    <a:cubicBezTo>
                      <a:pt x="88" y="395"/>
                      <a:pt x="0" y="306"/>
                      <a:pt x="0" y="198"/>
                    </a:cubicBezTo>
                    <a:cubicBezTo>
                      <a:pt x="0" y="89"/>
                      <a:pt x="88" y="0"/>
                      <a:pt x="196" y="0"/>
                    </a:cubicBezTo>
                    <a:cubicBezTo>
                      <a:pt x="305" y="0"/>
                      <a:pt x="393" y="89"/>
                      <a:pt x="393" y="198"/>
                    </a:cubicBezTo>
                    <a:cubicBezTo>
                      <a:pt x="393" y="306"/>
                      <a:pt x="305" y="395"/>
                      <a:pt x="196" y="395"/>
                    </a:cubicBezTo>
                    <a:close/>
                    <a:moveTo>
                      <a:pt x="196" y="45"/>
                    </a:moveTo>
                    <a:lnTo>
                      <a:pt x="196" y="45"/>
                    </a:lnTo>
                    <a:cubicBezTo>
                      <a:pt x="112" y="45"/>
                      <a:pt x="43" y="113"/>
                      <a:pt x="43" y="198"/>
                    </a:cubicBezTo>
                    <a:cubicBezTo>
                      <a:pt x="43" y="282"/>
                      <a:pt x="112" y="351"/>
                      <a:pt x="196" y="351"/>
                    </a:cubicBezTo>
                    <a:cubicBezTo>
                      <a:pt x="281" y="351"/>
                      <a:pt x="350" y="282"/>
                      <a:pt x="350" y="198"/>
                    </a:cubicBezTo>
                    <a:cubicBezTo>
                      <a:pt x="350" y="113"/>
                      <a:pt x="281" y="45"/>
                      <a:pt x="196" y="45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9" name="Freeform 227"/>
              <p:cNvSpPr>
                <a:spLocks noChangeArrowheads="1"/>
              </p:cNvSpPr>
              <p:nvPr/>
            </p:nvSpPr>
            <p:spPr bwMode="auto">
              <a:xfrm>
                <a:off x="2947989" y="5498277"/>
                <a:ext cx="61913" cy="61913"/>
              </a:xfrm>
              <a:custGeom>
                <a:avLst/>
                <a:gdLst>
                  <a:gd name="T0" fmla="*/ 1 w 176"/>
                  <a:gd name="T1" fmla="*/ 2 h 175"/>
                  <a:gd name="T2" fmla="*/ 1 w 176"/>
                  <a:gd name="T3" fmla="*/ 2 h 175"/>
                  <a:gd name="T4" fmla="*/ 0 w 176"/>
                  <a:gd name="T5" fmla="*/ 1 h 175"/>
                  <a:gd name="T6" fmla="*/ 1 w 176"/>
                  <a:gd name="T7" fmla="*/ 0 h 175"/>
                  <a:gd name="T8" fmla="*/ 2 w 176"/>
                  <a:gd name="T9" fmla="*/ 1 h 175"/>
                  <a:gd name="T10" fmla="*/ 1 w 176"/>
                  <a:gd name="T11" fmla="*/ 2 h 175"/>
                  <a:gd name="T12" fmla="*/ 1 w 176"/>
                  <a:gd name="T13" fmla="*/ 0 h 175"/>
                  <a:gd name="T14" fmla="*/ 1 w 176"/>
                  <a:gd name="T15" fmla="*/ 0 h 175"/>
                  <a:gd name="T16" fmla="*/ 0 w 176"/>
                  <a:gd name="T17" fmla="*/ 1 h 175"/>
                  <a:gd name="T18" fmla="*/ 1 w 176"/>
                  <a:gd name="T19" fmla="*/ 1 h 175"/>
                  <a:gd name="T20" fmla="*/ 1 w 176"/>
                  <a:gd name="T21" fmla="*/ 1 h 175"/>
                  <a:gd name="T22" fmla="*/ 1 w 176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6" h="175">
                    <a:moveTo>
                      <a:pt x="87" y="174"/>
                    </a:moveTo>
                    <a:lnTo>
                      <a:pt x="87" y="174"/>
                    </a:lnTo>
                    <a:cubicBezTo>
                      <a:pt x="39" y="174"/>
                      <a:pt x="0" y="135"/>
                      <a:pt x="0" y="87"/>
                    </a:cubicBezTo>
                    <a:cubicBezTo>
                      <a:pt x="0" y="39"/>
                      <a:pt x="39" y="0"/>
                      <a:pt x="87" y="0"/>
                    </a:cubicBezTo>
                    <a:cubicBezTo>
                      <a:pt x="136" y="0"/>
                      <a:pt x="175" y="39"/>
                      <a:pt x="175" y="87"/>
                    </a:cubicBezTo>
                    <a:cubicBezTo>
                      <a:pt x="175" y="135"/>
                      <a:pt x="136" y="174"/>
                      <a:pt x="87" y="174"/>
                    </a:cubicBezTo>
                    <a:close/>
                    <a:moveTo>
                      <a:pt x="87" y="43"/>
                    </a:moveTo>
                    <a:lnTo>
                      <a:pt x="87" y="43"/>
                    </a:lnTo>
                    <a:cubicBezTo>
                      <a:pt x="63" y="43"/>
                      <a:pt x="43" y="63"/>
                      <a:pt x="43" y="87"/>
                    </a:cubicBezTo>
                    <a:cubicBezTo>
                      <a:pt x="43" y="111"/>
                      <a:pt x="63" y="131"/>
                      <a:pt x="87" y="131"/>
                    </a:cubicBezTo>
                    <a:cubicBezTo>
                      <a:pt x="111" y="131"/>
                      <a:pt x="131" y="111"/>
                      <a:pt x="131" y="87"/>
                    </a:cubicBezTo>
                    <a:cubicBezTo>
                      <a:pt x="131" y="63"/>
                      <a:pt x="111" y="43"/>
                      <a:pt x="87" y="4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0" name="Freeform 228"/>
              <p:cNvSpPr>
                <a:spLocks noChangeArrowheads="1"/>
              </p:cNvSpPr>
              <p:nvPr/>
            </p:nvSpPr>
            <p:spPr bwMode="auto">
              <a:xfrm>
                <a:off x="2940051" y="5545902"/>
                <a:ext cx="77788" cy="53975"/>
              </a:xfrm>
              <a:custGeom>
                <a:avLst/>
                <a:gdLst>
                  <a:gd name="T0" fmla="*/ 2 w 220"/>
                  <a:gd name="T1" fmla="*/ 2 h 154"/>
                  <a:gd name="T2" fmla="*/ 2 w 220"/>
                  <a:gd name="T3" fmla="*/ 2 h 154"/>
                  <a:gd name="T4" fmla="*/ 2 w 220"/>
                  <a:gd name="T5" fmla="*/ 2 h 154"/>
                  <a:gd name="T6" fmla="*/ 2 w 220"/>
                  <a:gd name="T7" fmla="*/ 1 h 154"/>
                  <a:gd name="T8" fmla="*/ 1 w 220"/>
                  <a:gd name="T9" fmla="*/ 0 h 154"/>
                  <a:gd name="T10" fmla="*/ 0 w 220"/>
                  <a:gd name="T11" fmla="*/ 1 h 154"/>
                  <a:gd name="T12" fmla="*/ 0 w 220"/>
                  <a:gd name="T13" fmla="*/ 2 h 154"/>
                  <a:gd name="T14" fmla="*/ 0 w 220"/>
                  <a:gd name="T15" fmla="*/ 2 h 154"/>
                  <a:gd name="T16" fmla="*/ 0 w 220"/>
                  <a:gd name="T17" fmla="*/ 1 h 154"/>
                  <a:gd name="T18" fmla="*/ 1 w 220"/>
                  <a:gd name="T19" fmla="*/ 0 h 154"/>
                  <a:gd name="T20" fmla="*/ 2 w 220"/>
                  <a:gd name="T21" fmla="*/ 1 h 154"/>
                  <a:gd name="T22" fmla="*/ 2 w 220"/>
                  <a:gd name="T23" fmla="*/ 2 h 15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20" h="154">
                    <a:moveTo>
                      <a:pt x="219" y="153"/>
                    </a:moveTo>
                    <a:lnTo>
                      <a:pt x="219" y="153"/>
                    </a:lnTo>
                    <a:cubicBezTo>
                      <a:pt x="175" y="153"/>
                      <a:pt x="190" y="153"/>
                      <a:pt x="175" y="153"/>
                    </a:cubicBezTo>
                    <a:cubicBezTo>
                      <a:pt x="175" y="109"/>
                      <a:pt x="175" y="124"/>
                      <a:pt x="175" y="109"/>
                    </a:cubicBezTo>
                    <a:cubicBezTo>
                      <a:pt x="175" y="73"/>
                      <a:pt x="146" y="43"/>
                      <a:pt x="109" y="43"/>
                    </a:cubicBezTo>
                    <a:cubicBezTo>
                      <a:pt x="73" y="43"/>
                      <a:pt x="43" y="73"/>
                      <a:pt x="43" y="109"/>
                    </a:cubicBezTo>
                    <a:cubicBezTo>
                      <a:pt x="43" y="153"/>
                      <a:pt x="43" y="139"/>
                      <a:pt x="43" y="153"/>
                    </a:cubicBezTo>
                    <a:cubicBezTo>
                      <a:pt x="0" y="153"/>
                      <a:pt x="14" y="153"/>
                      <a:pt x="0" y="153"/>
                    </a:cubicBezTo>
                    <a:cubicBezTo>
                      <a:pt x="0" y="109"/>
                      <a:pt x="0" y="124"/>
                      <a:pt x="0" y="109"/>
                    </a:cubicBezTo>
                    <a:cubicBezTo>
                      <a:pt x="0" y="49"/>
                      <a:pt x="49" y="0"/>
                      <a:pt x="109" y="0"/>
                    </a:cubicBezTo>
                    <a:cubicBezTo>
                      <a:pt x="170" y="0"/>
                      <a:pt x="219" y="49"/>
                      <a:pt x="219" y="109"/>
                    </a:cubicBezTo>
                    <a:cubicBezTo>
                      <a:pt x="219" y="124"/>
                      <a:pt x="219" y="139"/>
                      <a:pt x="219" y="153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1" name="Freeform 229"/>
              <p:cNvSpPr>
                <a:spLocks noChangeArrowheads="1"/>
              </p:cNvSpPr>
              <p:nvPr/>
            </p:nvSpPr>
            <p:spPr bwMode="auto">
              <a:xfrm>
                <a:off x="2954339" y="5625277"/>
                <a:ext cx="69850" cy="69850"/>
              </a:xfrm>
              <a:custGeom>
                <a:avLst/>
                <a:gdLst>
                  <a:gd name="T0" fmla="*/ 0 w 199"/>
                  <a:gd name="T1" fmla="*/ 2 h 197"/>
                  <a:gd name="T2" fmla="*/ 0 w 199"/>
                  <a:gd name="T3" fmla="*/ 2 h 197"/>
                  <a:gd name="T4" fmla="*/ 0 w 199"/>
                  <a:gd name="T5" fmla="*/ 2 h 197"/>
                  <a:gd name="T6" fmla="*/ 0 w 199"/>
                  <a:gd name="T7" fmla="*/ 2 h 197"/>
                  <a:gd name="T8" fmla="*/ 0 w 199"/>
                  <a:gd name="T9" fmla="*/ 2 h 197"/>
                  <a:gd name="T10" fmla="*/ 1 w 199"/>
                  <a:gd name="T11" fmla="*/ 1 h 197"/>
                  <a:gd name="T12" fmla="*/ 2 w 199"/>
                  <a:gd name="T13" fmla="*/ 0 h 197"/>
                  <a:gd name="T14" fmla="*/ 2 w 199"/>
                  <a:gd name="T15" fmla="*/ 0 h 197"/>
                  <a:gd name="T16" fmla="*/ 2 w 199"/>
                  <a:gd name="T17" fmla="*/ 0 h 197"/>
                  <a:gd name="T18" fmla="*/ 2 w 199"/>
                  <a:gd name="T19" fmla="*/ 0 h 197"/>
                  <a:gd name="T20" fmla="*/ 2 w 199"/>
                  <a:gd name="T21" fmla="*/ 1 h 197"/>
                  <a:gd name="T22" fmla="*/ 0 w 199"/>
                  <a:gd name="T23" fmla="*/ 2 h 19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99" h="197">
                    <a:moveTo>
                      <a:pt x="7" y="196"/>
                    </a:moveTo>
                    <a:lnTo>
                      <a:pt x="7" y="196"/>
                    </a:lnTo>
                    <a:cubicBezTo>
                      <a:pt x="0" y="196"/>
                      <a:pt x="2" y="196"/>
                      <a:pt x="0" y="196"/>
                    </a:cubicBezTo>
                    <a:cubicBezTo>
                      <a:pt x="0" y="152"/>
                      <a:pt x="0" y="167"/>
                      <a:pt x="0" y="152"/>
                    </a:cubicBezTo>
                    <a:cubicBezTo>
                      <a:pt x="7" y="152"/>
                      <a:pt x="5" y="152"/>
                      <a:pt x="7" y="152"/>
                    </a:cubicBezTo>
                    <a:cubicBezTo>
                      <a:pt x="52" y="152"/>
                      <a:pt x="94" y="132"/>
                      <a:pt x="121" y="97"/>
                    </a:cubicBezTo>
                    <a:cubicBezTo>
                      <a:pt x="143" y="72"/>
                      <a:pt x="154" y="39"/>
                      <a:pt x="154" y="6"/>
                    </a:cubicBezTo>
                    <a:cubicBezTo>
                      <a:pt x="154" y="0"/>
                      <a:pt x="154" y="2"/>
                      <a:pt x="154" y="0"/>
                    </a:cubicBezTo>
                    <a:cubicBezTo>
                      <a:pt x="198" y="0"/>
                      <a:pt x="183" y="0"/>
                      <a:pt x="198" y="0"/>
                    </a:cubicBezTo>
                    <a:cubicBezTo>
                      <a:pt x="198" y="6"/>
                      <a:pt x="198" y="4"/>
                      <a:pt x="198" y="6"/>
                    </a:cubicBezTo>
                    <a:cubicBezTo>
                      <a:pt x="198" y="49"/>
                      <a:pt x="183" y="91"/>
                      <a:pt x="156" y="125"/>
                    </a:cubicBezTo>
                    <a:cubicBezTo>
                      <a:pt x="119" y="170"/>
                      <a:pt x="66" y="196"/>
                      <a:pt x="7" y="196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2" name="Freeform 230"/>
              <p:cNvSpPr>
                <a:spLocks noChangeArrowheads="1"/>
              </p:cNvSpPr>
              <p:nvPr/>
            </p:nvSpPr>
            <p:spPr bwMode="auto">
              <a:xfrm>
                <a:off x="2946401" y="5645915"/>
                <a:ext cx="30163" cy="84138"/>
              </a:xfrm>
              <a:custGeom>
                <a:avLst/>
                <a:gdLst>
                  <a:gd name="T0" fmla="*/ 0 w 89"/>
                  <a:gd name="T1" fmla="*/ 3 h 236"/>
                  <a:gd name="T2" fmla="*/ 0 w 89"/>
                  <a:gd name="T3" fmla="*/ 1 h 236"/>
                  <a:gd name="T4" fmla="*/ 0 w 89"/>
                  <a:gd name="T5" fmla="*/ 0 h 236"/>
                  <a:gd name="T6" fmla="*/ 1 w 89"/>
                  <a:gd name="T7" fmla="*/ 0 h 236"/>
                  <a:gd name="T8" fmla="*/ 0 w 89"/>
                  <a:gd name="T9" fmla="*/ 1 h 236"/>
                  <a:gd name="T10" fmla="*/ 1 w 89"/>
                  <a:gd name="T11" fmla="*/ 2 h 236"/>
                  <a:gd name="T12" fmla="*/ 0 w 89"/>
                  <a:gd name="T13" fmla="*/ 3 h 2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9" h="236">
                    <a:moveTo>
                      <a:pt x="47" y="235"/>
                    </a:moveTo>
                    <a:cubicBezTo>
                      <a:pt x="31" y="196"/>
                      <a:pt x="16" y="157"/>
                      <a:pt x="0" y="118"/>
                    </a:cubicBezTo>
                    <a:cubicBezTo>
                      <a:pt x="16" y="79"/>
                      <a:pt x="31" y="40"/>
                      <a:pt x="47" y="0"/>
                    </a:cubicBezTo>
                    <a:cubicBezTo>
                      <a:pt x="61" y="6"/>
                      <a:pt x="74" y="11"/>
                      <a:pt x="88" y="16"/>
                    </a:cubicBezTo>
                    <a:cubicBezTo>
                      <a:pt x="74" y="50"/>
                      <a:pt x="61" y="84"/>
                      <a:pt x="47" y="118"/>
                    </a:cubicBezTo>
                    <a:cubicBezTo>
                      <a:pt x="61" y="152"/>
                      <a:pt x="74" y="186"/>
                      <a:pt x="88" y="219"/>
                    </a:cubicBezTo>
                    <a:cubicBezTo>
                      <a:pt x="74" y="225"/>
                      <a:pt x="61" y="230"/>
                      <a:pt x="47" y="235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3" name="Freeform 231"/>
              <p:cNvSpPr>
                <a:spLocks noChangeArrowheads="1"/>
              </p:cNvSpPr>
              <p:nvPr/>
            </p:nvSpPr>
            <p:spPr bwMode="auto">
              <a:xfrm>
                <a:off x="2711451" y="5498277"/>
                <a:ext cx="69850" cy="69850"/>
              </a:xfrm>
              <a:custGeom>
                <a:avLst/>
                <a:gdLst>
                  <a:gd name="T0" fmla="*/ 2 w 198"/>
                  <a:gd name="T1" fmla="*/ 2 h 197"/>
                  <a:gd name="T2" fmla="*/ 2 w 198"/>
                  <a:gd name="T3" fmla="*/ 2 h 197"/>
                  <a:gd name="T4" fmla="*/ 2 w 198"/>
                  <a:gd name="T5" fmla="*/ 2 h 197"/>
                  <a:gd name="T6" fmla="*/ 2 w 198"/>
                  <a:gd name="T7" fmla="*/ 2 h 197"/>
                  <a:gd name="T8" fmla="*/ 1 w 198"/>
                  <a:gd name="T9" fmla="*/ 1 h 197"/>
                  <a:gd name="T10" fmla="*/ 0 w 198"/>
                  <a:gd name="T11" fmla="*/ 0 h 197"/>
                  <a:gd name="T12" fmla="*/ 0 w 198"/>
                  <a:gd name="T13" fmla="*/ 0 h 197"/>
                  <a:gd name="T14" fmla="*/ 0 w 198"/>
                  <a:gd name="T15" fmla="*/ 0 h 197"/>
                  <a:gd name="T16" fmla="*/ 0 w 198"/>
                  <a:gd name="T17" fmla="*/ 0 h 197"/>
                  <a:gd name="T18" fmla="*/ 1 w 198"/>
                  <a:gd name="T19" fmla="*/ 0 h 197"/>
                  <a:gd name="T20" fmla="*/ 2 w 198"/>
                  <a:gd name="T21" fmla="*/ 2 h 197"/>
                  <a:gd name="T22" fmla="*/ 2 w 198"/>
                  <a:gd name="T23" fmla="*/ 2 h 19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98" h="197">
                    <a:moveTo>
                      <a:pt x="197" y="196"/>
                    </a:moveTo>
                    <a:lnTo>
                      <a:pt x="197" y="196"/>
                    </a:lnTo>
                    <a:cubicBezTo>
                      <a:pt x="153" y="196"/>
                      <a:pt x="168" y="196"/>
                      <a:pt x="153" y="196"/>
                    </a:cubicBezTo>
                    <a:cubicBezTo>
                      <a:pt x="153" y="189"/>
                      <a:pt x="153" y="192"/>
                      <a:pt x="153" y="189"/>
                    </a:cubicBezTo>
                    <a:cubicBezTo>
                      <a:pt x="153" y="145"/>
                      <a:pt x="133" y="103"/>
                      <a:pt x="98" y="75"/>
                    </a:cubicBezTo>
                    <a:cubicBezTo>
                      <a:pt x="72" y="55"/>
                      <a:pt x="40" y="43"/>
                      <a:pt x="7" y="43"/>
                    </a:cubicBezTo>
                    <a:cubicBezTo>
                      <a:pt x="0" y="43"/>
                      <a:pt x="2" y="43"/>
                      <a:pt x="0" y="43"/>
                    </a:cubicBezTo>
                    <a:cubicBezTo>
                      <a:pt x="0" y="0"/>
                      <a:pt x="0" y="15"/>
                      <a:pt x="0" y="0"/>
                    </a:cubicBezTo>
                    <a:cubicBezTo>
                      <a:pt x="7" y="0"/>
                      <a:pt x="5" y="0"/>
                      <a:pt x="7" y="0"/>
                    </a:cubicBezTo>
                    <a:cubicBezTo>
                      <a:pt x="50" y="0"/>
                      <a:pt x="92" y="14"/>
                      <a:pt x="126" y="41"/>
                    </a:cubicBezTo>
                    <a:cubicBezTo>
                      <a:pt x="171" y="77"/>
                      <a:pt x="197" y="132"/>
                      <a:pt x="197" y="189"/>
                    </a:cubicBezTo>
                    <a:cubicBezTo>
                      <a:pt x="197" y="192"/>
                      <a:pt x="197" y="194"/>
                      <a:pt x="197" y="196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4" name="Freeform 232"/>
              <p:cNvSpPr>
                <a:spLocks noChangeArrowheads="1"/>
              </p:cNvSpPr>
              <p:nvPr/>
            </p:nvSpPr>
            <p:spPr bwMode="auto">
              <a:xfrm>
                <a:off x="2732089" y="5545902"/>
                <a:ext cx="84138" cy="30163"/>
              </a:xfrm>
              <a:custGeom>
                <a:avLst/>
                <a:gdLst>
                  <a:gd name="T0" fmla="*/ 1 w 236"/>
                  <a:gd name="T1" fmla="*/ 1 h 89"/>
                  <a:gd name="T2" fmla="*/ 0 w 236"/>
                  <a:gd name="T3" fmla="*/ 0 h 89"/>
                  <a:gd name="T4" fmla="*/ 0 w 236"/>
                  <a:gd name="T5" fmla="*/ 0 h 89"/>
                  <a:gd name="T6" fmla="*/ 1 w 236"/>
                  <a:gd name="T7" fmla="*/ 0 h 89"/>
                  <a:gd name="T8" fmla="*/ 2 w 236"/>
                  <a:gd name="T9" fmla="*/ 0 h 89"/>
                  <a:gd name="T10" fmla="*/ 3 w 236"/>
                  <a:gd name="T11" fmla="*/ 0 h 89"/>
                  <a:gd name="T12" fmla="*/ 1 w 236"/>
                  <a:gd name="T13" fmla="*/ 1 h 8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6" h="89">
                    <a:moveTo>
                      <a:pt x="117" y="88"/>
                    </a:moveTo>
                    <a:cubicBezTo>
                      <a:pt x="78" y="73"/>
                      <a:pt x="39" y="57"/>
                      <a:pt x="0" y="41"/>
                    </a:cubicBezTo>
                    <a:cubicBezTo>
                      <a:pt x="5" y="28"/>
                      <a:pt x="11" y="14"/>
                      <a:pt x="16" y="0"/>
                    </a:cubicBezTo>
                    <a:cubicBezTo>
                      <a:pt x="50" y="14"/>
                      <a:pt x="83" y="28"/>
                      <a:pt x="117" y="41"/>
                    </a:cubicBezTo>
                    <a:cubicBezTo>
                      <a:pt x="151" y="28"/>
                      <a:pt x="185" y="14"/>
                      <a:pt x="219" y="0"/>
                    </a:cubicBezTo>
                    <a:cubicBezTo>
                      <a:pt x="224" y="14"/>
                      <a:pt x="230" y="28"/>
                      <a:pt x="235" y="41"/>
                    </a:cubicBezTo>
                    <a:cubicBezTo>
                      <a:pt x="196" y="57"/>
                      <a:pt x="156" y="73"/>
                      <a:pt x="117" y="88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5" name="Freeform 233"/>
              <p:cNvSpPr>
                <a:spLocks noChangeArrowheads="1"/>
              </p:cNvSpPr>
              <p:nvPr/>
            </p:nvSpPr>
            <p:spPr bwMode="auto">
              <a:xfrm>
                <a:off x="2584451" y="5742752"/>
                <a:ext cx="69850" cy="69850"/>
              </a:xfrm>
              <a:custGeom>
                <a:avLst/>
                <a:gdLst>
                  <a:gd name="T0" fmla="*/ 0 w 198"/>
                  <a:gd name="T1" fmla="*/ 2 h 198"/>
                  <a:gd name="T2" fmla="*/ 0 w 198"/>
                  <a:gd name="T3" fmla="*/ 2 h 198"/>
                  <a:gd name="T4" fmla="*/ 0 w 198"/>
                  <a:gd name="T5" fmla="*/ 2 h 198"/>
                  <a:gd name="T6" fmla="*/ 0 w 198"/>
                  <a:gd name="T7" fmla="*/ 2 h 198"/>
                  <a:gd name="T8" fmla="*/ 0 w 198"/>
                  <a:gd name="T9" fmla="*/ 1 h 198"/>
                  <a:gd name="T10" fmla="*/ 2 w 198"/>
                  <a:gd name="T11" fmla="*/ 0 h 198"/>
                  <a:gd name="T12" fmla="*/ 2 w 198"/>
                  <a:gd name="T13" fmla="*/ 0 h 198"/>
                  <a:gd name="T14" fmla="*/ 2 w 198"/>
                  <a:gd name="T15" fmla="*/ 0 h 198"/>
                  <a:gd name="T16" fmla="*/ 2 w 198"/>
                  <a:gd name="T17" fmla="*/ 0 h 198"/>
                  <a:gd name="T18" fmla="*/ 1 w 198"/>
                  <a:gd name="T19" fmla="*/ 1 h 198"/>
                  <a:gd name="T20" fmla="*/ 0 w 198"/>
                  <a:gd name="T21" fmla="*/ 2 h 198"/>
                  <a:gd name="T22" fmla="*/ 0 w 198"/>
                  <a:gd name="T23" fmla="*/ 2 h 19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98" h="198">
                    <a:moveTo>
                      <a:pt x="44" y="197"/>
                    </a:moveTo>
                    <a:lnTo>
                      <a:pt x="44" y="197"/>
                    </a:lnTo>
                    <a:cubicBezTo>
                      <a:pt x="0" y="197"/>
                      <a:pt x="15" y="197"/>
                      <a:pt x="0" y="197"/>
                    </a:cubicBezTo>
                    <a:cubicBezTo>
                      <a:pt x="0" y="191"/>
                      <a:pt x="0" y="193"/>
                      <a:pt x="0" y="191"/>
                    </a:cubicBezTo>
                    <a:cubicBezTo>
                      <a:pt x="0" y="147"/>
                      <a:pt x="15" y="105"/>
                      <a:pt x="42" y="71"/>
                    </a:cubicBezTo>
                    <a:cubicBezTo>
                      <a:pt x="78" y="26"/>
                      <a:pt x="132" y="0"/>
                      <a:pt x="190" y="0"/>
                    </a:cubicBezTo>
                    <a:cubicBezTo>
                      <a:pt x="197" y="0"/>
                      <a:pt x="195" y="0"/>
                      <a:pt x="197" y="0"/>
                    </a:cubicBezTo>
                    <a:cubicBezTo>
                      <a:pt x="197" y="43"/>
                      <a:pt x="197" y="29"/>
                      <a:pt x="197" y="43"/>
                    </a:cubicBezTo>
                    <a:cubicBezTo>
                      <a:pt x="190" y="43"/>
                      <a:pt x="192" y="43"/>
                      <a:pt x="190" y="43"/>
                    </a:cubicBezTo>
                    <a:cubicBezTo>
                      <a:pt x="146" y="43"/>
                      <a:pt x="104" y="64"/>
                      <a:pt x="76" y="98"/>
                    </a:cubicBezTo>
                    <a:cubicBezTo>
                      <a:pt x="55" y="124"/>
                      <a:pt x="44" y="157"/>
                      <a:pt x="44" y="191"/>
                    </a:cubicBezTo>
                    <a:cubicBezTo>
                      <a:pt x="44" y="193"/>
                      <a:pt x="44" y="195"/>
                      <a:pt x="44" y="197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6" name="Freeform 234"/>
              <p:cNvSpPr>
                <a:spLocks noChangeArrowheads="1"/>
              </p:cNvSpPr>
              <p:nvPr/>
            </p:nvSpPr>
            <p:spPr bwMode="auto">
              <a:xfrm>
                <a:off x="2632076" y="5707827"/>
                <a:ext cx="30163" cy="84138"/>
              </a:xfrm>
              <a:custGeom>
                <a:avLst/>
                <a:gdLst>
                  <a:gd name="T0" fmla="*/ 0 w 89"/>
                  <a:gd name="T1" fmla="*/ 3 h 237"/>
                  <a:gd name="T2" fmla="*/ 0 w 89"/>
                  <a:gd name="T3" fmla="*/ 2 h 237"/>
                  <a:gd name="T4" fmla="*/ 0 w 89"/>
                  <a:gd name="T5" fmla="*/ 1 h 237"/>
                  <a:gd name="T6" fmla="*/ 0 w 89"/>
                  <a:gd name="T7" fmla="*/ 0 h 237"/>
                  <a:gd name="T8" fmla="*/ 0 w 89"/>
                  <a:gd name="T9" fmla="*/ 0 h 237"/>
                  <a:gd name="T10" fmla="*/ 1 w 89"/>
                  <a:gd name="T11" fmla="*/ 1 h 237"/>
                  <a:gd name="T12" fmla="*/ 0 w 89"/>
                  <a:gd name="T13" fmla="*/ 3 h 2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9" h="237">
                    <a:moveTo>
                      <a:pt x="41" y="236"/>
                    </a:moveTo>
                    <a:cubicBezTo>
                      <a:pt x="27" y="231"/>
                      <a:pt x="14" y="225"/>
                      <a:pt x="0" y="219"/>
                    </a:cubicBezTo>
                    <a:cubicBezTo>
                      <a:pt x="13" y="186"/>
                      <a:pt x="27" y="152"/>
                      <a:pt x="40" y="118"/>
                    </a:cubicBezTo>
                    <a:cubicBezTo>
                      <a:pt x="27" y="84"/>
                      <a:pt x="13" y="50"/>
                      <a:pt x="0" y="16"/>
                    </a:cubicBezTo>
                    <a:cubicBezTo>
                      <a:pt x="14" y="11"/>
                      <a:pt x="27" y="6"/>
                      <a:pt x="41" y="0"/>
                    </a:cubicBezTo>
                    <a:cubicBezTo>
                      <a:pt x="57" y="40"/>
                      <a:pt x="72" y="79"/>
                      <a:pt x="88" y="118"/>
                    </a:cubicBezTo>
                    <a:cubicBezTo>
                      <a:pt x="72" y="158"/>
                      <a:pt x="57" y="197"/>
                      <a:pt x="41" y="236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7" name="Freeform 235"/>
              <p:cNvSpPr>
                <a:spLocks noChangeArrowheads="1"/>
              </p:cNvSpPr>
              <p:nvPr/>
            </p:nvSpPr>
            <p:spPr bwMode="auto">
              <a:xfrm>
                <a:off x="2828926" y="5869752"/>
                <a:ext cx="69850" cy="69850"/>
              </a:xfrm>
              <a:custGeom>
                <a:avLst/>
                <a:gdLst>
                  <a:gd name="T0" fmla="*/ 2 w 198"/>
                  <a:gd name="T1" fmla="*/ 2 h 198"/>
                  <a:gd name="T2" fmla="*/ 2 w 198"/>
                  <a:gd name="T3" fmla="*/ 2 h 198"/>
                  <a:gd name="T4" fmla="*/ 2 w 198"/>
                  <a:gd name="T5" fmla="*/ 2 h 198"/>
                  <a:gd name="T6" fmla="*/ 1 w 198"/>
                  <a:gd name="T7" fmla="*/ 2 h 198"/>
                  <a:gd name="T8" fmla="*/ 0 w 198"/>
                  <a:gd name="T9" fmla="*/ 0 h 198"/>
                  <a:gd name="T10" fmla="*/ 0 w 198"/>
                  <a:gd name="T11" fmla="*/ 0 h 198"/>
                  <a:gd name="T12" fmla="*/ 0 w 198"/>
                  <a:gd name="T13" fmla="*/ 0 h 198"/>
                  <a:gd name="T14" fmla="*/ 0 w 198"/>
                  <a:gd name="T15" fmla="*/ 0 h 198"/>
                  <a:gd name="T16" fmla="*/ 1 w 198"/>
                  <a:gd name="T17" fmla="*/ 1 h 198"/>
                  <a:gd name="T18" fmla="*/ 2 w 198"/>
                  <a:gd name="T19" fmla="*/ 2 h 198"/>
                  <a:gd name="T20" fmla="*/ 2 w 198"/>
                  <a:gd name="T21" fmla="*/ 2 h 198"/>
                  <a:gd name="T22" fmla="*/ 2 w 198"/>
                  <a:gd name="T23" fmla="*/ 2 h 19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98" h="198">
                    <a:moveTo>
                      <a:pt x="197" y="197"/>
                    </a:moveTo>
                    <a:lnTo>
                      <a:pt x="197" y="197"/>
                    </a:lnTo>
                    <a:cubicBezTo>
                      <a:pt x="190" y="197"/>
                      <a:pt x="192" y="197"/>
                      <a:pt x="190" y="197"/>
                    </a:cubicBezTo>
                    <a:cubicBezTo>
                      <a:pt x="147" y="197"/>
                      <a:pt x="104" y="182"/>
                      <a:pt x="71" y="155"/>
                    </a:cubicBezTo>
                    <a:cubicBezTo>
                      <a:pt x="25" y="119"/>
                      <a:pt x="0" y="65"/>
                      <a:pt x="0" y="6"/>
                    </a:cubicBezTo>
                    <a:cubicBezTo>
                      <a:pt x="0" y="0"/>
                      <a:pt x="0" y="2"/>
                      <a:pt x="0" y="0"/>
                    </a:cubicBezTo>
                    <a:cubicBezTo>
                      <a:pt x="43" y="0"/>
                      <a:pt x="29" y="0"/>
                      <a:pt x="43" y="0"/>
                    </a:cubicBezTo>
                    <a:cubicBezTo>
                      <a:pt x="43" y="6"/>
                      <a:pt x="43" y="4"/>
                      <a:pt x="43" y="6"/>
                    </a:cubicBezTo>
                    <a:cubicBezTo>
                      <a:pt x="43" y="51"/>
                      <a:pt x="63" y="93"/>
                      <a:pt x="98" y="121"/>
                    </a:cubicBezTo>
                    <a:cubicBezTo>
                      <a:pt x="124" y="142"/>
                      <a:pt x="157" y="153"/>
                      <a:pt x="190" y="153"/>
                    </a:cubicBezTo>
                    <a:cubicBezTo>
                      <a:pt x="197" y="153"/>
                      <a:pt x="195" y="153"/>
                      <a:pt x="197" y="153"/>
                    </a:cubicBezTo>
                    <a:cubicBezTo>
                      <a:pt x="197" y="168"/>
                      <a:pt x="197" y="183"/>
                      <a:pt x="197" y="197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8" name="Freeform 236"/>
              <p:cNvSpPr>
                <a:spLocks noChangeArrowheads="1"/>
              </p:cNvSpPr>
              <p:nvPr/>
            </p:nvSpPr>
            <p:spPr bwMode="auto">
              <a:xfrm>
                <a:off x="2794001" y="5860227"/>
                <a:ext cx="84138" cy="30163"/>
              </a:xfrm>
              <a:custGeom>
                <a:avLst/>
                <a:gdLst>
                  <a:gd name="T0" fmla="*/ 2 w 236"/>
                  <a:gd name="T1" fmla="*/ 1 h 88"/>
                  <a:gd name="T2" fmla="*/ 1 w 236"/>
                  <a:gd name="T3" fmla="*/ 0 h 88"/>
                  <a:gd name="T4" fmla="*/ 0 w 236"/>
                  <a:gd name="T5" fmla="*/ 1 h 88"/>
                  <a:gd name="T6" fmla="*/ 0 w 236"/>
                  <a:gd name="T7" fmla="*/ 0 h 88"/>
                  <a:gd name="T8" fmla="*/ 1 w 236"/>
                  <a:gd name="T9" fmla="*/ 0 h 88"/>
                  <a:gd name="T10" fmla="*/ 3 w 236"/>
                  <a:gd name="T11" fmla="*/ 0 h 88"/>
                  <a:gd name="T12" fmla="*/ 2 w 236"/>
                  <a:gd name="T13" fmla="*/ 1 h 8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6" h="88">
                    <a:moveTo>
                      <a:pt x="219" y="87"/>
                    </a:moveTo>
                    <a:cubicBezTo>
                      <a:pt x="185" y="74"/>
                      <a:pt x="151" y="61"/>
                      <a:pt x="117" y="47"/>
                    </a:cubicBezTo>
                    <a:cubicBezTo>
                      <a:pt x="83" y="61"/>
                      <a:pt x="50" y="74"/>
                      <a:pt x="16" y="87"/>
                    </a:cubicBezTo>
                    <a:cubicBezTo>
                      <a:pt x="11" y="74"/>
                      <a:pt x="5" y="61"/>
                      <a:pt x="0" y="47"/>
                    </a:cubicBezTo>
                    <a:cubicBezTo>
                      <a:pt x="39" y="32"/>
                      <a:pt x="78" y="16"/>
                      <a:pt x="117" y="0"/>
                    </a:cubicBezTo>
                    <a:cubicBezTo>
                      <a:pt x="156" y="16"/>
                      <a:pt x="196" y="32"/>
                      <a:pt x="235" y="47"/>
                    </a:cubicBezTo>
                    <a:cubicBezTo>
                      <a:pt x="230" y="61"/>
                      <a:pt x="224" y="74"/>
                      <a:pt x="219" y="87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9" name="Freeform 237"/>
              <p:cNvSpPr>
                <a:spLocks noChangeArrowheads="1"/>
              </p:cNvSpPr>
              <p:nvPr/>
            </p:nvSpPr>
            <p:spPr bwMode="auto">
              <a:xfrm>
                <a:off x="2560639" y="5474465"/>
                <a:ext cx="141288" cy="141288"/>
              </a:xfrm>
              <a:custGeom>
                <a:avLst/>
                <a:gdLst>
                  <a:gd name="T0" fmla="*/ 2 w 396"/>
                  <a:gd name="T1" fmla="*/ 4 h 396"/>
                  <a:gd name="T2" fmla="*/ 2 w 396"/>
                  <a:gd name="T3" fmla="*/ 4 h 396"/>
                  <a:gd name="T4" fmla="*/ 0 w 396"/>
                  <a:gd name="T5" fmla="*/ 2 h 396"/>
                  <a:gd name="T6" fmla="*/ 2 w 396"/>
                  <a:gd name="T7" fmla="*/ 0 h 396"/>
                  <a:gd name="T8" fmla="*/ 4 w 396"/>
                  <a:gd name="T9" fmla="*/ 2 h 396"/>
                  <a:gd name="T10" fmla="*/ 2 w 396"/>
                  <a:gd name="T11" fmla="*/ 4 h 396"/>
                  <a:gd name="T12" fmla="*/ 2 w 396"/>
                  <a:gd name="T13" fmla="*/ 0 h 396"/>
                  <a:gd name="T14" fmla="*/ 2 w 396"/>
                  <a:gd name="T15" fmla="*/ 0 h 396"/>
                  <a:gd name="T16" fmla="*/ 0 w 396"/>
                  <a:gd name="T17" fmla="*/ 2 h 396"/>
                  <a:gd name="T18" fmla="*/ 2 w 396"/>
                  <a:gd name="T19" fmla="*/ 4 h 396"/>
                  <a:gd name="T20" fmla="*/ 4 w 396"/>
                  <a:gd name="T21" fmla="*/ 2 h 396"/>
                  <a:gd name="T22" fmla="*/ 2 w 396"/>
                  <a:gd name="T23" fmla="*/ 0 h 39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96" h="396">
                    <a:moveTo>
                      <a:pt x="197" y="395"/>
                    </a:moveTo>
                    <a:lnTo>
                      <a:pt x="197" y="395"/>
                    </a:lnTo>
                    <a:cubicBezTo>
                      <a:pt x="88" y="395"/>
                      <a:pt x="0" y="306"/>
                      <a:pt x="0" y="198"/>
                    </a:cubicBezTo>
                    <a:cubicBezTo>
                      <a:pt x="0" y="89"/>
                      <a:pt x="88" y="0"/>
                      <a:pt x="197" y="0"/>
                    </a:cubicBezTo>
                    <a:cubicBezTo>
                      <a:pt x="306" y="0"/>
                      <a:pt x="395" y="89"/>
                      <a:pt x="395" y="198"/>
                    </a:cubicBezTo>
                    <a:cubicBezTo>
                      <a:pt x="395" y="306"/>
                      <a:pt x="306" y="395"/>
                      <a:pt x="197" y="395"/>
                    </a:cubicBezTo>
                    <a:close/>
                    <a:moveTo>
                      <a:pt x="197" y="45"/>
                    </a:moveTo>
                    <a:lnTo>
                      <a:pt x="197" y="45"/>
                    </a:lnTo>
                    <a:cubicBezTo>
                      <a:pt x="112" y="45"/>
                      <a:pt x="44" y="113"/>
                      <a:pt x="44" y="198"/>
                    </a:cubicBezTo>
                    <a:cubicBezTo>
                      <a:pt x="44" y="282"/>
                      <a:pt x="112" y="351"/>
                      <a:pt x="197" y="351"/>
                    </a:cubicBezTo>
                    <a:cubicBezTo>
                      <a:pt x="282" y="351"/>
                      <a:pt x="351" y="282"/>
                      <a:pt x="351" y="198"/>
                    </a:cubicBezTo>
                    <a:cubicBezTo>
                      <a:pt x="351" y="113"/>
                      <a:pt x="282" y="45"/>
                      <a:pt x="197" y="45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0" name="Freeform 238"/>
              <p:cNvSpPr>
                <a:spLocks noChangeArrowheads="1"/>
              </p:cNvSpPr>
              <p:nvPr/>
            </p:nvSpPr>
            <p:spPr bwMode="auto">
              <a:xfrm>
                <a:off x="2600326" y="5498277"/>
                <a:ext cx="61913" cy="61913"/>
              </a:xfrm>
              <a:custGeom>
                <a:avLst/>
                <a:gdLst>
                  <a:gd name="T0" fmla="*/ 1 w 176"/>
                  <a:gd name="T1" fmla="*/ 2 h 175"/>
                  <a:gd name="T2" fmla="*/ 1 w 176"/>
                  <a:gd name="T3" fmla="*/ 2 h 175"/>
                  <a:gd name="T4" fmla="*/ 0 w 176"/>
                  <a:gd name="T5" fmla="*/ 1 h 175"/>
                  <a:gd name="T6" fmla="*/ 1 w 176"/>
                  <a:gd name="T7" fmla="*/ 0 h 175"/>
                  <a:gd name="T8" fmla="*/ 2 w 176"/>
                  <a:gd name="T9" fmla="*/ 1 h 175"/>
                  <a:gd name="T10" fmla="*/ 1 w 176"/>
                  <a:gd name="T11" fmla="*/ 2 h 175"/>
                  <a:gd name="T12" fmla="*/ 1 w 176"/>
                  <a:gd name="T13" fmla="*/ 0 h 175"/>
                  <a:gd name="T14" fmla="*/ 1 w 176"/>
                  <a:gd name="T15" fmla="*/ 0 h 175"/>
                  <a:gd name="T16" fmla="*/ 0 w 176"/>
                  <a:gd name="T17" fmla="*/ 1 h 175"/>
                  <a:gd name="T18" fmla="*/ 1 w 176"/>
                  <a:gd name="T19" fmla="*/ 1 h 175"/>
                  <a:gd name="T20" fmla="*/ 1 w 176"/>
                  <a:gd name="T21" fmla="*/ 1 h 175"/>
                  <a:gd name="T22" fmla="*/ 1 w 176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6" h="175">
                    <a:moveTo>
                      <a:pt x="87" y="174"/>
                    </a:moveTo>
                    <a:lnTo>
                      <a:pt x="87" y="174"/>
                    </a:lnTo>
                    <a:cubicBezTo>
                      <a:pt x="39" y="174"/>
                      <a:pt x="0" y="135"/>
                      <a:pt x="0" y="87"/>
                    </a:cubicBezTo>
                    <a:cubicBezTo>
                      <a:pt x="0" y="39"/>
                      <a:pt x="39" y="0"/>
                      <a:pt x="87" y="0"/>
                    </a:cubicBezTo>
                    <a:cubicBezTo>
                      <a:pt x="135" y="0"/>
                      <a:pt x="175" y="39"/>
                      <a:pt x="175" y="87"/>
                    </a:cubicBezTo>
                    <a:cubicBezTo>
                      <a:pt x="175" y="135"/>
                      <a:pt x="135" y="174"/>
                      <a:pt x="87" y="174"/>
                    </a:cubicBezTo>
                    <a:close/>
                    <a:moveTo>
                      <a:pt x="87" y="43"/>
                    </a:moveTo>
                    <a:lnTo>
                      <a:pt x="87" y="43"/>
                    </a:lnTo>
                    <a:cubicBezTo>
                      <a:pt x="63" y="43"/>
                      <a:pt x="44" y="63"/>
                      <a:pt x="44" y="87"/>
                    </a:cubicBezTo>
                    <a:cubicBezTo>
                      <a:pt x="44" y="111"/>
                      <a:pt x="63" y="131"/>
                      <a:pt x="87" y="131"/>
                    </a:cubicBezTo>
                    <a:cubicBezTo>
                      <a:pt x="111" y="131"/>
                      <a:pt x="131" y="111"/>
                      <a:pt x="131" y="87"/>
                    </a:cubicBezTo>
                    <a:cubicBezTo>
                      <a:pt x="131" y="63"/>
                      <a:pt x="111" y="43"/>
                      <a:pt x="87" y="4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1" name="Freeform 239"/>
              <p:cNvSpPr>
                <a:spLocks noChangeArrowheads="1"/>
              </p:cNvSpPr>
              <p:nvPr/>
            </p:nvSpPr>
            <p:spPr bwMode="auto">
              <a:xfrm>
                <a:off x="2592389" y="5545902"/>
                <a:ext cx="77788" cy="53975"/>
              </a:xfrm>
              <a:custGeom>
                <a:avLst/>
                <a:gdLst>
                  <a:gd name="T0" fmla="*/ 2 w 219"/>
                  <a:gd name="T1" fmla="*/ 2 h 154"/>
                  <a:gd name="T2" fmla="*/ 2 w 219"/>
                  <a:gd name="T3" fmla="*/ 2 h 154"/>
                  <a:gd name="T4" fmla="*/ 2 w 219"/>
                  <a:gd name="T5" fmla="*/ 2 h 154"/>
                  <a:gd name="T6" fmla="*/ 2 w 219"/>
                  <a:gd name="T7" fmla="*/ 1 h 154"/>
                  <a:gd name="T8" fmla="*/ 1 w 219"/>
                  <a:gd name="T9" fmla="*/ 0 h 154"/>
                  <a:gd name="T10" fmla="*/ 0 w 219"/>
                  <a:gd name="T11" fmla="*/ 1 h 154"/>
                  <a:gd name="T12" fmla="*/ 0 w 219"/>
                  <a:gd name="T13" fmla="*/ 2 h 154"/>
                  <a:gd name="T14" fmla="*/ 0 w 219"/>
                  <a:gd name="T15" fmla="*/ 2 h 154"/>
                  <a:gd name="T16" fmla="*/ 0 w 219"/>
                  <a:gd name="T17" fmla="*/ 1 h 154"/>
                  <a:gd name="T18" fmla="*/ 1 w 219"/>
                  <a:gd name="T19" fmla="*/ 0 h 154"/>
                  <a:gd name="T20" fmla="*/ 2 w 219"/>
                  <a:gd name="T21" fmla="*/ 1 h 154"/>
                  <a:gd name="T22" fmla="*/ 2 w 219"/>
                  <a:gd name="T23" fmla="*/ 2 h 15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19" h="154">
                    <a:moveTo>
                      <a:pt x="218" y="153"/>
                    </a:moveTo>
                    <a:lnTo>
                      <a:pt x="218" y="153"/>
                    </a:lnTo>
                    <a:cubicBezTo>
                      <a:pt x="175" y="153"/>
                      <a:pt x="189" y="153"/>
                      <a:pt x="175" y="153"/>
                    </a:cubicBezTo>
                    <a:cubicBezTo>
                      <a:pt x="175" y="109"/>
                      <a:pt x="175" y="124"/>
                      <a:pt x="175" y="109"/>
                    </a:cubicBezTo>
                    <a:cubicBezTo>
                      <a:pt x="175" y="73"/>
                      <a:pt x="146" y="43"/>
                      <a:pt x="109" y="43"/>
                    </a:cubicBezTo>
                    <a:cubicBezTo>
                      <a:pt x="73" y="43"/>
                      <a:pt x="44" y="73"/>
                      <a:pt x="44" y="109"/>
                    </a:cubicBezTo>
                    <a:cubicBezTo>
                      <a:pt x="44" y="153"/>
                      <a:pt x="44" y="139"/>
                      <a:pt x="44" y="153"/>
                    </a:cubicBezTo>
                    <a:cubicBezTo>
                      <a:pt x="0" y="153"/>
                      <a:pt x="15" y="153"/>
                      <a:pt x="0" y="153"/>
                    </a:cubicBezTo>
                    <a:cubicBezTo>
                      <a:pt x="0" y="109"/>
                      <a:pt x="0" y="124"/>
                      <a:pt x="0" y="109"/>
                    </a:cubicBezTo>
                    <a:cubicBezTo>
                      <a:pt x="0" y="49"/>
                      <a:pt x="49" y="0"/>
                      <a:pt x="109" y="0"/>
                    </a:cubicBezTo>
                    <a:cubicBezTo>
                      <a:pt x="170" y="0"/>
                      <a:pt x="218" y="49"/>
                      <a:pt x="218" y="109"/>
                    </a:cubicBezTo>
                    <a:cubicBezTo>
                      <a:pt x="218" y="124"/>
                      <a:pt x="218" y="139"/>
                      <a:pt x="218" y="153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2" name="Freeform 240"/>
              <p:cNvSpPr>
                <a:spLocks noChangeArrowheads="1"/>
              </p:cNvSpPr>
              <p:nvPr/>
            </p:nvSpPr>
            <p:spPr bwMode="auto">
              <a:xfrm>
                <a:off x="2908301" y="5822127"/>
                <a:ext cx="139700" cy="139700"/>
              </a:xfrm>
              <a:custGeom>
                <a:avLst/>
                <a:gdLst>
                  <a:gd name="T0" fmla="*/ 2 w 394"/>
                  <a:gd name="T1" fmla="*/ 4 h 394"/>
                  <a:gd name="T2" fmla="*/ 2 w 394"/>
                  <a:gd name="T3" fmla="*/ 4 h 394"/>
                  <a:gd name="T4" fmla="*/ 0 w 394"/>
                  <a:gd name="T5" fmla="*/ 2 h 394"/>
                  <a:gd name="T6" fmla="*/ 2 w 394"/>
                  <a:gd name="T7" fmla="*/ 0 h 394"/>
                  <a:gd name="T8" fmla="*/ 4 w 394"/>
                  <a:gd name="T9" fmla="*/ 2 h 394"/>
                  <a:gd name="T10" fmla="*/ 2 w 394"/>
                  <a:gd name="T11" fmla="*/ 4 h 394"/>
                  <a:gd name="T12" fmla="*/ 2 w 394"/>
                  <a:gd name="T13" fmla="*/ 0 h 394"/>
                  <a:gd name="T14" fmla="*/ 2 w 394"/>
                  <a:gd name="T15" fmla="*/ 0 h 394"/>
                  <a:gd name="T16" fmla="*/ 0 w 394"/>
                  <a:gd name="T17" fmla="*/ 2 h 394"/>
                  <a:gd name="T18" fmla="*/ 2 w 394"/>
                  <a:gd name="T19" fmla="*/ 4 h 394"/>
                  <a:gd name="T20" fmla="*/ 4 w 394"/>
                  <a:gd name="T21" fmla="*/ 2 h 394"/>
                  <a:gd name="T22" fmla="*/ 2 w 394"/>
                  <a:gd name="T23" fmla="*/ 0 h 39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94" h="394">
                    <a:moveTo>
                      <a:pt x="196" y="393"/>
                    </a:moveTo>
                    <a:lnTo>
                      <a:pt x="196" y="393"/>
                    </a:lnTo>
                    <a:cubicBezTo>
                      <a:pt x="88" y="393"/>
                      <a:pt x="0" y="305"/>
                      <a:pt x="0" y="196"/>
                    </a:cubicBezTo>
                    <a:cubicBezTo>
                      <a:pt x="0" y="88"/>
                      <a:pt x="88" y="0"/>
                      <a:pt x="196" y="0"/>
                    </a:cubicBezTo>
                    <a:cubicBezTo>
                      <a:pt x="305" y="0"/>
                      <a:pt x="393" y="88"/>
                      <a:pt x="393" y="196"/>
                    </a:cubicBezTo>
                    <a:cubicBezTo>
                      <a:pt x="393" y="305"/>
                      <a:pt x="305" y="393"/>
                      <a:pt x="196" y="393"/>
                    </a:cubicBezTo>
                    <a:close/>
                    <a:moveTo>
                      <a:pt x="196" y="44"/>
                    </a:moveTo>
                    <a:lnTo>
                      <a:pt x="196" y="44"/>
                    </a:lnTo>
                    <a:cubicBezTo>
                      <a:pt x="112" y="44"/>
                      <a:pt x="43" y="112"/>
                      <a:pt x="43" y="196"/>
                    </a:cubicBezTo>
                    <a:cubicBezTo>
                      <a:pt x="43" y="281"/>
                      <a:pt x="112" y="350"/>
                      <a:pt x="196" y="350"/>
                    </a:cubicBezTo>
                    <a:cubicBezTo>
                      <a:pt x="281" y="350"/>
                      <a:pt x="350" y="281"/>
                      <a:pt x="350" y="196"/>
                    </a:cubicBezTo>
                    <a:cubicBezTo>
                      <a:pt x="350" y="112"/>
                      <a:pt x="281" y="44"/>
                      <a:pt x="196" y="44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3" name="Freeform 241"/>
              <p:cNvSpPr>
                <a:spLocks noChangeArrowheads="1"/>
              </p:cNvSpPr>
              <p:nvPr/>
            </p:nvSpPr>
            <p:spPr bwMode="auto">
              <a:xfrm>
                <a:off x="2947989" y="5845940"/>
                <a:ext cx="61913" cy="61913"/>
              </a:xfrm>
              <a:custGeom>
                <a:avLst/>
                <a:gdLst>
                  <a:gd name="T0" fmla="*/ 1 w 176"/>
                  <a:gd name="T1" fmla="*/ 2 h 177"/>
                  <a:gd name="T2" fmla="*/ 1 w 176"/>
                  <a:gd name="T3" fmla="*/ 2 h 177"/>
                  <a:gd name="T4" fmla="*/ 0 w 176"/>
                  <a:gd name="T5" fmla="*/ 1 h 177"/>
                  <a:gd name="T6" fmla="*/ 1 w 176"/>
                  <a:gd name="T7" fmla="*/ 0 h 177"/>
                  <a:gd name="T8" fmla="*/ 2 w 176"/>
                  <a:gd name="T9" fmla="*/ 1 h 177"/>
                  <a:gd name="T10" fmla="*/ 1 w 176"/>
                  <a:gd name="T11" fmla="*/ 2 h 177"/>
                  <a:gd name="T12" fmla="*/ 1 w 176"/>
                  <a:gd name="T13" fmla="*/ 0 h 177"/>
                  <a:gd name="T14" fmla="*/ 1 w 176"/>
                  <a:gd name="T15" fmla="*/ 0 h 177"/>
                  <a:gd name="T16" fmla="*/ 0 w 176"/>
                  <a:gd name="T17" fmla="*/ 1 h 177"/>
                  <a:gd name="T18" fmla="*/ 1 w 176"/>
                  <a:gd name="T19" fmla="*/ 1 h 177"/>
                  <a:gd name="T20" fmla="*/ 1 w 176"/>
                  <a:gd name="T21" fmla="*/ 1 h 177"/>
                  <a:gd name="T22" fmla="*/ 1 w 176"/>
                  <a:gd name="T23" fmla="*/ 0 h 17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6" h="177">
                    <a:moveTo>
                      <a:pt x="87" y="176"/>
                    </a:moveTo>
                    <a:lnTo>
                      <a:pt x="87" y="176"/>
                    </a:lnTo>
                    <a:cubicBezTo>
                      <a:pt x="39" y="176"/>
                      <a:pt x="0" y="136"/>
                      <a:pt x="0" y="88"/>
                    </a:cubicBezTo>
                    <a:cubicBezTo>
                      <a:pt x="0" y="39"/>
                      <a:pt x="39" y="0"/>
                      <a:pt x="87" y="0"/>
                    </a:cubicBezTo>
                    <a:cubicBezTo>
                      <a:pt x="136" y="0"/>
                      <a:pt x="175" y="39"/>
                      <a:pt x="175" y="88"/>
                    </a:cubicBezTo>
                    <a:cubicBezTo>
                      <a:pt x="175" y="136"/>
                      <a:pt x="136" y="176"/>
                      <a:pt x="87" y="176"/>
                    </a:cubicBezTo>
                    <a:close/>
                    <a:moveTo>
                      <a:pt x="87" y="44"/>
                    </a:moveTo>
                    <a:lnTo>
                      <a:pt x="87" y="44"/>
                    </a:lnTo>
                    <a:cubicBezTo>
                      <a:pt x="63" y="44"/>
                      <a:pt x="43" y="64"/>
                      <a:pt x="43" y="88"/>
                    </a:cubicBezTo>
                    <a:cubicBezTo>
                      <a:pt x="43" y="112"/>
                      <a:pt x="63" y="131"/>
                      <a:pt x="87" y="131"/>
                    </a:cubicBezTo>
                    <a:cubicBezTo>
                      <a:pt x="111" y="131"/>
                      <a:pt x="131" y="112"/>
                      <a:pt x="131" y="88"/>
                    </a:cubicBezTo>
                    <a:cubicBezTo>
                      <a:pt x="131" y="64"/>
                      <a:pt x="111" y="44"/>
                      <a:pt x="87" y="44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4" name="Freeform 242"/>
              <p:cNvSpPr>
                <a:spLocks noChangeArrowheads="1"/>
              </p:cNvSpPr>
              <p:nvPr/>
            </p:nvSpPr>
            <p:spPr bwMode="auto">
              <a:xfrm>
                <a:off x="2940051" y="5891977"/>
                <a:ext cx="77788" cy="53975"/>
              </a:xfrm>
              <a:custGeom>
                <a:avLst/>
                <a:gdLst>
                  <a:gd name="T0" fmla="*/ 2 w 220"/>
                  <a:gd name="T1" fmla="*/ 2 h 155"/>
                  <a:gd name="T2" fmla="*/ 2 w 220"/>
                  <a:gd name="T3" fmla="*/ 2 h 155"/>
                  <a:gd name="T4" fmla="*/ 2 w 220"/>
                  <a:gd name="T5" fmla="*/ 2 h 155"/>
                  <a:gd name="T6" fmla="*/ 2 w 220"/>
                  <a:gd name="T7" fmla="*/ 1 h 155"/>
                  <a:gd name="T8" fmla="*/ 1 w 220"/>
                  <a:gd name="T9" fmla="*/ 0 h 155"/>
                  <a:gd name="T10" fmla="*/ 0 w 220"/>
                  <a:gd name="T11" fmla="*/ 1 h 155"/>
                  <a:gd name="T12" fmla="*/ 0 w 220"/>
                  <a:gd name="T13" fmla="*/ 2 h 155"/>
                  <a:gd name="T14" fmla="*/ 0 w 220"/>
                  <a:gd name="T15" fmla="*/ 2 h 155"/>
                  <a:gd name="T16" fmla="*/ 0 w 220"/>
                  <a:gd name="T17" fmla="*/ 1 h 155"/>
                  <a:gd name="T18" fmla="*/ 1 w 220"/>
                  <a:gd name="T19" fmla="*/ 0 h 155"/>
                  <a:gd name="T20" fmla="*/ 2 w 220"/>
                  <a:gd name="T21" fmla="*/ 1 h 155"/>
                  <a:gd name="T22" fmla="*/ 2 w 220"/>
                  <a:gd name="T23" fmla="*/ 2 h 15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20" h="155">
                    <a:moveTo>
                      <a:pt x="219" y="154"/>
                    </a:moveTo>
                    <a:lnTo>
                      <a:pt x="219" y="154"/>
                    </a:lnTo>
                    <a:cubicBezTo>
                      <a:pt x="175" y="154"/>
                      <a:pt x="190" y="154"/>
                      <a:pt x="175" y="154"/>
                    </a:cubicBezTo>
                    <a:cubicBezTo>
                      <a:pt x="175" y="110"/>
                      <a:pt x="175" y="125"/>
                      <a:pt x="175" y="110"/>
                    </a:cubicBezTo>
                    <a:cubicBezTo>
                      <a:pt x="175" y="74"/>
                      <a:pt x="146" y="45"/>
                      <a:pt x="109" y="45"/>
                    </a:cubicBezTo>
                    <a:cubicBezTo>
                      <a:pt x="73" y="45"/>
                      <a:pt x="43" y="74"/>
                      <a:pt x="43" y="110"/>
                    </a:cubicBezTo>
                    <a:cubicBezTo>
                      <a:pt x="43" y="154"/>
                      <a:pt x="43" y="140"/>
                      <a:pt x="43" y="154"/>
                    </a:cubicBezTo>
                    <a:cubicBezTo>
                      <a:pt x="0" y="154"/>
                      <a:pt x="14" y="154"/>
                      <a:pt x="0" y="154"/>
                    </a:cubicBezTo>
                    <a:cubicBezTo>
                      <a:pt x="0" y="110"/>
                      <a:pt x="0" y="125"/>
                      <a:pt x="0" y="110"/>
                    </a:cubicBezTo>
                    <a:cubicBezTo>
                      <a:pt x="0" y="50"/>
                      <a:pt x="49" y="0"/>
                      <a:pt x="109" y="0"/>
                    </a:cubicBezTo>
                    <a:cubicBezTo>
                      <a:pt x="170" y="0"/>
                      <a:pt x="219" y="50"/>
                      <a:pt x="219" y="110"/>
                    </a:cubicBezTo>
                    <a:cubicBezTo>
                      <a:pt x="219" y="125"/>
                      <a:pt x="219" y="140"/>
                      <a:pt x="219" y="15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5" name="Freeform 243"/>
              <p:cNvSpPr>
                <a:spLocks noChangeArrowheads="1"/>
              </p:cNvSpPr>
              <p:nvPr/>
            </p:nvSpPr>
            <p:spPr bwMode="auto">
              <a:xfrm>
                <a:off x="2560639" y="5822127"/>
                <a:ext cx="141288" cy="139700"/>
              </a:xfrm>
              <a:custGeom>
                <a:avLst/>
                <a:gdLst>
                  <a:gd name="T0" fmla="*/ 2 w 396"/>
                  <a:gd name="T1" fmla="*/ 4 h 394"/>
                  <a:gd name="T2" fmla="*/ 2 w 396"/>
                  <a:gd name="T3" fmla="*/ 4 h 394"/>
                  <a:gd name="T4" fmla="*/ 0 w 396"/>
                  <a:gd name="T5" fmla="*/ 2 h 394"/>
                  <a:gd name="T6" fmla="*/ 2 w 396"/>
                  <a:gd name="T7" fmla="*/ 0 h 394"/>
                  <a:gd name="T8" fmla="*/ 4 w 396"/>
                  <a:gd name="T9" fmla="*/ 2 h 394"/>
                  <a:gd name="T10" fmla="*/ 2 w 396"/>
                  <a:gd name="T11" fmla="*/ 4 h 394"/>
                  <a:gd name="T12" fmla="*/ 2 w 396"/>
                  <a:gd name="T13" fmla="*/ 0 h 394"/>
                  <a:gd name="T14" fmla="*/ 2 w 396"/>
                  <a:gd name="T15" fmla="*/ 0 h 394"/>
                  <a:gd name="T16" fmla="*/ 0 w 396"/>
                  <a:gd name="T17" fmla="*/ 2 h 394"/>
                  <a:gd name="T18" fmla="*/ 2 w 396"/>
                  <a:gd name="T19" fmla="*/ 4 h 394"/>
                  <a:gd name="T20" fmla="*/ 4 w 396"/>
                  <a:gd name="T21" fmla="*/ 2 h 394"/>
                  <a:gd name="T22" fmla="*/ 2 w 396"/>
                  <a:gd name="T23" fmla="*/ 0 h 39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96" h="394">
                    <a:moveTo>
                      <a:pt x="197" y="393"/>
                    </a:moveTo>
                    <a:lnTo>
                      <a:pt x="197" y="393"/>
                    </a:lnTo>
                    <a:cubicBezTo>
                      <a:pt x="88" y="393"/>
                      <a:pt x="0" y="305"/>
                      <a:pt x="0" y="196"/>
                    </a:cubicBezTo>
                    <a:cubicBezTo>
                      <a:pt x="0" y="88"/>
                      <a:pt x="88" y="0"/>
                      <a:pt x="197" y="0"/>
                    </a:cubicBezTo>
                    <a:cubicBezTo>
                      <a:pt x="306" y="0"/>
                      <a:pt x="395" y="88"/>
                      <a:pt x="395" y="196"/>
                    </a:cubicBezTo>
                    <a:cubicBezTo>
                      <a:pt x="395" y="305"/>
                      <a:pt x="306" y="393"/>
                      <a:pt x="197" y="393"/>
                    </a:cubicBezTo>
                    <a:close/>
                    <a:moveTo>
                      <a:pt x="197" y="44"/>
                    </a:moveTo>
                    <a:lnTo>
                      <a:pt x="197" y="44"/>
                    </a:lnTo>
                    <a:cubicBezTo>
                      <a:pt x="112" y="44"/>
                      <a:pt x="44" y="112"/>
                      <a:pt x="44" y="196"/>
                    </a:cubicBezTo>
                    <a:cubicBezTo>
                      <a:pt x="44" y="281"/>
                      <a:pt x="112" y="350"/>
                      <a:pt x="197" y="350"/>
                    </a:cubicBezTo>
                    <a:cubicBezTo>
                      <a:pt x="282" y="350"/>
                      <a:pt x="351" y="281"/>
                      <a:pt x="351" y="196"/>
                    </a:cubicBezTo>
                    <a:cubicBezTo>
                      <a:pt x="351" y="112"/>
                      <a:pt x="282" y="44"/>
                      <a:pt x="197" y="44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6" name="Freeform 244"/>
              <p:cNvSpPr>
                <a:spLocks noChangeArrowheads="1"/>
              </p:cNvSpPr>
              <p:nvPr/>
            </p:nvSpPr>
            <p:spPr bwMode="auto">
              <a:xfrm>
                <a:off x="2600326" y="5845940"/>
                <a:ext cx="61913" cy="61913"/>
              </a:xfrm>
              <a:custGeom>
                <a:avLst/>
                <a:gdLst>
                  <a:gd name="T0" fmla="*/ 1 w 176"/>
                  <a:gd name="T1" fmla="*/ 2 h 177"/>
                  <a:gd name="T2" fmla="*/ 1 w 176"/>
                  <a:gd name="T3" fmla="*/ 2 h 177"/>
                  <a:gd name="T4" fmla="*/ 0 w 176"/>
                  <a:gd name="T5" fmla="*/ 1 h 177"/>
                  <a:gd name="T6" fmla="*/ 1 w 176"/>
                  <a:gd name="T7" fmla="*/ 0 h 177"/>
                  <a:gd name="T8" fmla="*/ 2 w 176"/>
                  <a:gd name="T9" fmla="*/ 1 h 177"/>
                  <a:gd name="T10" fmla="*/ 1 w 176"/>
                  <a:gd name="T11" fmla="*/ 2 h 177"/>
                  <a:gd name="T12" fmla="*/ 1 w 176"/>
                  <a:gd name="T13" fmla="*/ 0 h 177"/>
                  <a:gd name="T14" fmla="*/ 1 w 176"/>
                  <a:gd name="T15" fmla="*/ 0 h 177"/>
                  <a:gd name="T16" fmla="*/ 0 w 176"/>
                  <a:gd name="T17" fmla="*/ 1 h 177"/>
                  <a:gd name="T18" fmla="*/ 1 w 176"/>
                  <a:gd name="T19" fmla="*/ 1 h 177"/>
                  <a:gd name="T20" fmla="*/ 1 w 176"/>
                  <a:gd name="T21" fmla="*/ 1 h 177"/>
                  <a:gd name="T22" fmla="*/ 1 w 176"/>
                  <a:gd name="T23" fmla="*/ 0 h 17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6" h="177">
                    <a:moveTo>
                      <a:pt x="87" y="176"/>
                    </a:moveTo>
                    <a:lnTo>
                      <a:pt x="87" y="176"/>
                    </a:lnTo>
                    <a:cubicBezTo>
                      <a:pt x="39" y="176"/>
                      <a:pt x="0" y="136"/>
                      <a:pt x="0" y="88"/>
                    </a:cubicBezTo>
                    <a:cubicBezTo>
                      <a:pt x="0" y="39"/>
                      <a:pt x="39" y="0"/>
                      <a:pt x="87" y="0"/>
                    </a:cubicBezTo>
                    <a:cubicBezTo>
                      <a:pt x="135" y="0"/>
                      <a:pt x="175" y="39"/>
                      <a:pt x="175" y="88"/>
                    </a:cubicBezTo>
                    <a:cubicBezTo>
                      <a:pt x="175" y="136"/>
                      <a:pt x="135" y="176"/>
                      <a:pt x="87" y="176"/>
                    </a:cubicBezTo>
                    <a:close/>
                    <a:moveTo>
                      <a:pt x="87" y="44"/>
                    </a:moveTo>
                    <a:lnTo>
                      <a:pt x="87" y="44"/>
                    </a:lnTo>
                    <a:cubicBezTo>
                      <a:pt x="63" y="44"/>
                      <a:pt x="44" y="64"/>
                      <a:pt x="44" y="88"/>
                    </a:cubicBezTo>
                    <a:cubicBezTo>
                      <a:pt x="44" y="112"/>
                      <a:pt x="63" y="131"/>
                      <a:pt x="87" y="131"/>
                    </a:cubicBezTo>
                    <a:cubicBezTo>
                      <a:pt x="111" y="131"/>
                      <a:pt x="131" y="112"/>
                      <a:pt x="131" y="88"/>
                    </a:cubicBezTo>
                    <a:cubicBezTo>
                      <a:pt x="131" y="64"/>
                      <a:pt x="111" y="44"/>
                      <a:pt x="87" y="44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7" name="Freeform 245"/>
              <p:cNvSpPr>
                <a:spLocks noChangeArrowheads="1"/>
              </p:cNvSpPr>
              <p:nvPr/>
            </p:nvSpPr>
            <p:spPr bwMode="auto">
              <a:xfrm>
                <a:off x="2592389" y="5891977"/>
                <a:ext cx="77788" cy="53975"/>
              </a:xfrm>
              <a:custGeom>
                <a:avLst/>
                <a:gdLst>
                  <a:gd name="T0" fmla="*/ 2 w 219"/>
                  <a:gd name="T1" fmla="*/ 2 h 155"/>
                  <a:gd name="T2" fmla="*/ 2 w 219"/>
                  <a:gd name="T3" fmla="*/ 2 h 155"/>
                  <a:gd name="T4" fmla="*/ 2 w 219"/>
                  <a:gd name="T5" fmla="*/ 2 h 155"/>
                  <a:gd name="T6" fmla="*/ 2 w 219"/>
                  <a:gd name="T7" fmla="*/ 1 h 155"/>
                  <a:gd name="T8" fmla="*/ 1 w 219"/>
                  <a:gd name="T9" fmla="*/ 0 h 155"/>
                  <a:gd name="T10" fmla="*/ 0 w 219"/>
                  <a:gd name="T11" fmla="*/ 1 h 155"/>
                  <a:gd name="T12" fmla="*/ 0 w 219"/>
                  <a:gd name="T13" fmla="*/ 2 h 155"/>
                  <a:gd name="T14" fmla="*/ 0 w 219"/>
                  <a:gd name="T15" fmla="*/ 2 h 155"/>
                  <a:gd name="T16" fmla="*/ 0 w 219"/>
                  <a:gd name="T17" fmla="*/ 1 h 155"/>
                  <a:gd name="T18" fmla="*/ 1 w 219"/>
                  <a:gd name="T19" fmla="*/ 0 h 155"/>
                  <a:gd name="T20" fmla="*/ 2 w 219"/>
                  <a:gd name="T21" fmla="*/ 1 h 155"/>
                  <a:gd name="T22" fmla="*/ 2 w 219"/>
                  <a:gd name="T23" fmla="*/ 2 h 15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19" h="155">
                    <a:moveTo>
                      <a:pt x="218" y="154"/>
                    </a:moveTo>
                    <a:lnTo>
                      <a:pt x="218" y="154"/>
                    </a:lnTo>
                    <a:cubicBezTo>
                      <a:pt x="175" y="154"/>
                      <a:pt x="189" y="154"/>
                      <a:pt x="175" y="154"/>
                    </a:cubicBezTo>
                    <a:cubicBezTo>
                      <a:pt x="175" y="110"/>
                      <a:pt x="175" y="125"/>
                      <a:pt x="175" y="110"/>
                    </a:cubicBezTo>
                    <a:cubicBezTo>
                      <a:pt x="175" y="74"/>
                      <a:pt x="146" y="45"/>
                      <a:pt x="109" y="45"/>
                    </a:cubicBezTo>
                    <a:cubicBezTo>
                      <a:pt x="73" y="45"/>
                      <a:pt x="44" y="74"/>
                      <a:pt x="44" y="110"/>
                    </a:cubicBezTo>
                    <a:cubicBezTo>
                      <a:pt x="44" y="154"/>
                      <a:pt x="44" y="140"/>
                      <a:pt x="44" y="154"/>
                    </a:cubicBezTo>
                    <a:cubicBezTo>
                      <a:pt x="0" y="154"/>
                      <a:pt x="15" y="154"/>
                      <a:pt x="0" y="154"/>
                    </a:cubicBezTo>
                    <a:cubicBezTo>
                      <a:pt x="0" y="110"/>
                      <a:pt x="0" y="125"/>
                      <a:pt x="0" y="110"/>
                    </a:cubicBezTo>
                    <a:cubicBezTo>
                      <a:pt x="0" y="50"/>
                      <a:pt x="49" y="0"/>
                      <a:pt x="109" y="0"/>
                    </a:cubicBezTo>
                    <a:cubicBezTo>
                      <a:pt x="170" y="0"/>
                      <a:pt x="218" y="50"/>
                      <a:pt x="218" y="110"/>
                    </a:cubicBezTo>
                    <a:cubicBezTo>
                      <a:pt x="218" y="125"/>
                      <a:pt x="218" y="140"/>
                      <a:pt x="218" y="15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8" name="Freeform 246"/>
              <p:cNvSpPr>
                <a:spLocks noChangeArrowheads="1"/>
              </p:cNvSpPr>
              <p:nvPr/>
            </p:nvSpPr>
            <p:spPr bwMode="auto">
              <a:xfrm>
                <a:off x="2695576" y="5641152"/>
                <a:ext cx="14288" cy="14288"/>
              </a:xfrm>
              <a:custGeom>
                <a:avLst/>
                <a:gdLst>
                  <a:gd name="T0" fmla="*/ 0 w 44"/>
                  <a:gd name="T1" fmla="*/ 0 h 45"/>
                  <a:gd name="T2" fmla="*/ 0 w 44"/>
                  <a:gd name="T3" fmla="*/ 0 h 45"/>
                  <a:gd name="T4" fmla="*/ 0 w 44"/>
                  <a:gd name="T5" fmla="*/ 0 h 45"/>
                  <a:gd name="T6" fmla="*/ 0 w 44"/>
                  <a:gd name="T7" fmla="*/ 0 h 45"/>
                  <a:gd name="T8" fmla="*/ 0 w 44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4" h="45">
                    <a:moveTo>
                      <a:pt x="43" y="44"/>
                    </a:moveTo>
                    <a:cubicBezTo>
                      <a:pt x="29" y="44"/>
                      <a:pt x="14" y="44"/>
                      <a:pt x="0" y="44"/>
                    </a:cubicBezTo>
                    <a:cubicBezTo>
                      <a:pt x="0" y="30"/>
                      <a:pt x="0" y="15"/>
                      <a:pt x="0" y="0"/>
                    </a:cubicBezTo>
                    <a:cubicBezTo>
                      <a:pt x="14" y="0"/>
                      <a:pt x="29" y="0"/>
                      <a:pt x="43" y="0"/>
                    </a:cubicBezTo>
                    <a:cubicBezTo>
                      <a:pt x="43" y="15"/>
                      <a:pt x="43" y="30"/>
                      <a:pt x="43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9" name="Freeform 247"/>
              <p:cNvSpPr>
                <a:spLocks noChangeArrowheads="1"/>
              </p:cNvSpPr>
              <p:nvPr/>
            </p:nvSpPr>
            <p:spPr bwMode="auto">
              <a:xfrm>
                <a:off x="2727326" y="5641152"/>
                <a:ext cx="14288" cy="14288"/>
              </a:xfrm>
              <a:custGeom>
                <a:avLst/>
                <a:gdLst>
                  <a:gd name="T0" fmla="*/ 0 w 45"/>
                  <a:gd name="T1" fmla="*/ 0 h 45"/>
                  <a:gd name="T2" fmla="*/ 0 w 45"/>
                  <a:gd name="T3" fmla="*/ 0 h 45"/>
                  <a:gd name="T4" fmla="*/ 0 w 45"/>
                  <a:gd name="T5" fmla="*/ 0 h 45"/>
                  <a:gd name="T6" fmla="*/ 0 w 45"/>
                  <a:gd name="T7" fmla="*/ 0 h 45"/>
                  <a:gd name="T8" fmla="*/ 0 w 45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45">
                    <a:moveTo>
                      <a:pt x="44" y="44"/>
                    </a:moveTo>
                    <a:cubicBezTo>
                      <a:pt x="29" y="44"/>
                      <a:pt x="15" y="44"/>
                      <a:pt x="0" y="44"/>
                    </a:cubicBezTo>
                    <a:cubicBezTo>
                      <a:pt x="0" y="30"/>
                      <a:pt x="0" y="15"/>
                      <a:pt x="0" y="0"/>
                    </a:cubicBezTo>
                    <a:cubicBezTo>
                      <a:pt x="15" y="0"/>
                      <a:pt x="29" y="0"/>
                      <a:pt x="44" y="0"/>
                    </a:cubicBezTo>
                    <a:cubicBezTo>
                      <a:pt x="44" y="15"/>
                      <a:pt x="44" y="30"/>
                      <a:pt x="44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0" name="Freeform 248"/>
              <p:cNvSpPr>
                <a:spLocks noChangeArrowheads="1"/>
              </p:cNvSpPr>
              <p:nvPr/>
            </p:nvSpPr>
            <p:spPr bwMode="auto">
              <a:xfrm>
                <a:off x="2757489" y="5641152"/>
                <a:ext cx="14288" cy="14288"/>
              </a:xfrm>
              <a:custGeom>
                <a:avLst/>
                <a:gdLst>
                  <a:gd name="T0" fmla="*/ 0 w 45"/>
                  <a:gd name="T1" fmla="*/ 0 h 45"/>
                  <a:gd name="T2" fmla="*/ 0 w 45"/>
                  <a:gd name="T3" fmla="*/ 0 h 45"/>
                  <a:gd name="T4" fmla="*/ 0 w 45"/>
                  <a:gd name="T5" fmla="*/ 0 h 45"/>
                  <a:gd name="T6" fmla="*/ 0 w 45"/>
                  <a:gd name="T7" fmla="*/ 0 h 45"/>
                  <a:gd name="T8" fmla="*/ 0 w 45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45">
                    <a:moveTo>
                      <a:pt x="44" y="44"/>
                    </a:moveTo>
                    <a:cubicBezTo>
                      <a:pt x="29" y="44"/>
                      <a:pt x="15" y="44"/>
                      <a:pt x="0" y="44"/>
                    </a:cubicBezTo>
                    <a:cubicBezTo>
                      <a:pt x="0" y="30"/>
                      <a:pt x="0" y="15"/>
                      <a:pt x="0" y="0"/>
                    </a:cubicBezTo>
                    <a:cubicBezTo>
                      <a:pt x="15" y="0"/>
                      <a:pt x="29" y="0"/>
                      <a:pt x="44" y="0"/>
                    </a:cubicBezTo>
                    <a:cubicBezTo>
                      <a:pt x="44" y="15"/>
                      <a:pt x="44" y="30"/>
                      <a:pt x="44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1" name="Freeform 249"/>
              <p:cNvSpPr>
                <a:spLocks noChangeArrowheads="1"/>
              </p:cNvSpPr>
              <p:nvPr/>
            </p:nvSpPr>
            <p:spPr bwMode="auto">
              <a:xfrm>
                <a:off x="2671764" y="5672902"/>
                <a:ext cx="266700" cy="14288"/>
              </a:xfrm>
              <a:custGeom>
                <a:avLst/>
                <a:gdLst>
                  <a:gd name="T0" fmla="*/ 9 w 746"/>
                  <a:gd name="T1" fmla="*/ 0 h 45"/>
                  <a:gd name="T2" fmla="*/ 0 w 746"/>
                  <a:gd name="T3" fmla="*/ 0 h 45"/>
                  <a:gd name="T4" fmla="*/ 0 w 746"/>
                  <a:gd name="T5" fmla="*/ 0 h 45"/>
                  <a:gd name="T6" fmla="*/ 9 w 746"/>
                  <a:gd name="T7" fmla="*/ 0 h 45"/>
                  <a:gd name="T8" fmla="*/ 9 w 746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46" h="45">
                    <a:moveTo>
                      <a:pt x="745" y="44"/>
                    </a:moveTo>
                    <a:cubicBezTo>
                      <a:pt x="497" y="44"/>
                      <a:pt x="248" y="44"/>
                      <a:pt x="0" y="44"/>
                    </a:cubicBezTo>
                    <a:cubicBezTo>
                      <a:pt x="0" y="30"/>
                      <a:pt x="0" y="15"/>
                      <a:pt x="0" y="0"/>
                    </a:cubicBezTo>
                    <a:cubicBezTo>
                      <a:pt x="248" y="0"/>
                      <a:pt x="497" y="0"/>
                      <a:pt x="745" y="0"/>
                    </a:cubicBezTo>
                    <a:cubicBezTo>
                      <a:pt x="745" y="15"/>
                      <a:pt x="745" y="30"/>
                      <a:pt x="745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2" name="Freeform 250"/>
              <p:cNvSpPr>
                <a:spLocks noChangeArrowheads="1"/>
              </p:cNvSpPr>
              <p:nvPr/>
            </p:nvSpPr>
            <p:spPr bwMode="auto">
              <a:xfrm>
                <a:off x="2695576" y="5703065"/>
                <a:ext cx="125413" cy="93663"/>
              </a:xfrm>
              <a:custGeom>
                <a:avLst/>
                <a:gdLst>
                  <a:gd name="T0" fmla="*/ 4 w 351"/>
                  <a:gd name="T1" fmla="*/ 3 h 264"/>
                  <a:gd name="T2" fmla="*/ 0 w 351"/>
                  <a:gd name="T3" fmla="*/ 3 h 264"/>
                  <a:gd name="T4" fmla="*/ 0 w 351"/>
                  <a:gd name="T5" fmla="*/ 0 h 264"/>
                  <a:gd name="T6" fmla="*/ 4 w 351"/>
                  <a:gd name="T7" fmla="*/ 0 h 264"/>
                  <a:gd name="T8" fmla="*/ 4 w 351"/>
                  <a:gd name="T9" fmla="*/ 3 h 264"/>
                  <a:gd name="T10" fmla="*/ 0 w 351"/>
                  <a:gd name="T11" fmla="*/ 2 h 264"/>
                  <a:gd name="T12" fmla="*/ 4 w 351"/>
                  <a:gd name="T13" fmla="*/ 2 h 264"/>
                  <a:gd name="T14" fmla="*/ 4 w 351"/>
                  <a:gd name="T15" fmla="*/ 0 h 264"/>
                  <a:gd name="T16" fmla="*/ 0 w 351"/>
                  <a:gd name="T17" fmla="*/ 0 h 264"/>
                  <a:gd name="T18" fmla="*/ 0 w 351"/>
                  <a:gd name="T19" fmla="*/ 2 h 26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51" h="264">
                    <a:moveTo>
                      <a:pt x="350" y="263"/>
                    </a:moveTo>
                    <a:cubicBezTo>
                      <a:pt x="233" y="263"/>
                      <a:pt x="117" y="263"/>
                      <a:pt x="0" y="263"/>
                    </a:cubicBezTo>
                    <a:cubicBezTo>
                      <a:pt x="0" y="176"/>
                      <a:pt x="0" y="88"/>
                      <a:pt x="0" y="0"/>
                    </a:cubicBezTo>
                    <a:cubicBezTo>
                      <a:pt x="117" y="0"/>
                      <a:pt x="233" y="0"/>
                      <a:pt x="350" y="0"/>
                    </a:cubicBezTo>
                    <a:cubicBezTo>
                      <a:pt x="350" y="88"/>
                      <a:pt x="350" y="176"/>
                      <a:pt x="350" y="263"/>
                    </a:cubicBezTo>
                    <a:close/>
                    <a:moveTo>
                      <a:pt x="43" y="219"/>
                    </a:moveTo>
                    <a:cubicBezTo>
                      <a:pt x="131" y="219"/>
                      <a:pt x="218" y="219"/>
                      <a:pt x="306" y="219"/>
                    </a:cubicBezTo>
                    <a:cubicBezTo>
                      <a:pt x="306" y="161"/>
                      <a:pt x="306" y="103"/>
                      <a:pt x="306" y="44"/>
                    </a:cubicBezTo>
                    <a:cubicBezTo>
                      <a:pt x="218" y="44"/>
                      <a:pt x="131" y="44"/>
                      <a:pt x="43" y="44"/>
                    </a:cubicBezTo>
                    <a:cubicBezTo>
                      <a:pt x="43" y="103"/>
                      <a:pt x="43" y="161"/>
                      <a:pt x="43" y="219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3" name="Freeform 251"/>
              <p:cNvSpPr>
                <a:spLocks noChangeArrowheads="1"/>
              </p:cNvSpPr>
              <p:nvPr/>
            </p:nvSpPr>
            <p:spPr bwMode="auto">
              <a:xfrm>
                <a:off x="2836864" y="5703065"/>
                <a:ext cx="77788" cy="14288"/>
              </a:xfrm>
              <a:custGeom>
                <a:avLst/>
                <a:gdLst>
                  <a:gd name="T0" fmla="*/ 2 w 220"/>
                  <a:gd name="T1" fmla="*/ 0 h 45"/>
                  <a:gd name="T2" fmla="*/ 0 w 220"/>
                  <a:gd name="T3" fmla="*/ 0 h 45"/>
                  <a:gd name="T4" fmla="*/ 0 w 220"/>
                  <a:gd name="T5" fmla="*/ 0 h 45"/>
                  <a:gd name="T6" fmla="*/ 2 w 220"/>
                  <a:gd name="T7" fmla="*/ 0 h 45"/>
                  <a:gd name="T8" fmla="*/ 2 w 220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20" h="45">
                    <a:moveTo>
                      <a:pt x="219" y="44"/>
                    </a:moveTo>
                    <a:cubicBezTo>
                      <a:pt x="146" y="44"/>
                      <a:pt x="73" y="44"/>
                      <a:pt x="0" y="44"/>
                    </a:cubicBezTo>
                    <a:cubicBezTo>
                      <a:pt x="0" y="30"/>
                      <a:pt x="0" y="15"/>
                      <a:pt x="0" y="0"/>
                    </a:cubicBezTo>
                    <a:cubicBezTo>
                      <a:pt x="73" y="0"/>
                      <a:pt x="146" y="0"/>
                      <a:pt x="219" y="0"/>
                    </a:cubicBezTo>
                    <a:cubicBezTo>
                      <a:pt x="219" y="15"/>
                      <a:pt x="219" y="30"/>
                      <a:pt x="219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4" name="Freeform 252"/>
              <p:cNvSpPr>
                <a:spLocks noChangeArrowheads="1"/>
              </p:cNvSpPr>
              <p:nvPr/>
            </p:nvSpPr>
            <p:spPr bwMode="auto">
              <a:xfrm>
                <a:off x="2836864" y="5734815"/>
                <a:ext cx="77788" cy="14288"/>
              </a:xfrm>
              <a:custGeom>
                <a:avLst/>
                <a:gdLst>
                  <a:gd name="T0" fmla="*/ 2 w 220"/>
                  <a:gd name="T1" fmla="*/ 0 h 45"/>
                  <a:gd name="T2" fmla="*/ 0 w 220"/>
                  <a:gd name="T3" fmla="*/ 0 h 45"/>
                  <a:gd name="T4" fmla="*/ 0 w 220"/>
                  <a:gd name="T5" fmla="*/ 0 h 45"/>
                  <a:gd name="T6" fmla="*/ 2 w 220"/>
                  <a:gd name="T7" fmla="*/ 0 h 45"/>
                  <a:gd name="T8" fmla="*/ 2 w 220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20" h="45">
                    <a:moveTo>
                      <a:pt x="219" y="44"/>
                    </a:moveTo>
                    <a:cubicBezTo>
                      <a:pt x="146" y="44"/>
                      <a:pt x="73" y="44"/>
                      <a:pt x="0" y="44"/>
                    </a:cubicBezTo>
                    <a:cubicBezTo>
                      <a:pt x="0" y="30"/>
                      <a:pt x="0" y="15"/>
                      <a:pt x="0" y="0"/>
                    </a:cubicBezTo>
                    <a:cubicBezTo>
                      <a:pt x="73" y="0"/>
                      <a:pt x="146" y="0"/>
                      <a:pt x="219" y="0"/>
                    </a:cubicBezTo>
                    <a:cubicBezTo>
                      <a:pt x="219" y="15"/>
                      <a:pt x="219" y="30"/>
                      <a:pt x="219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5" name="Freeform 253"/>
              <p:cNvSpPr>
                <a:spLocks noChangeArrowheads="1"/>
              </p:cNvSpPr>
              <p:nvPr/>
            </p:nvSpPr>
            <p:spPr bwMode="auto">
              <a:xfrm>
                <a:off x="2836864" y="5766565"/>
                <a:ext cx="77788" cy="14288"/>
              </a:xfrm>
              <a:custGeom>
                <a:avLst/>
                <a:gdLst>
                  <a:gd name="T0" fmla="*/ 2 w 220"/>
                  <a:gd name="T1" fmla="*/ 0 h 45"/>
                  <a:gd name="T2" fmla="*/ 0 w 220"/>
                  <a:gd name="T3" fmla="*/ 0 h 45"/>
                  <a:gd name="T4" fmla="*/ 0 w 220"/>
                  <a:gd name="T5" fmla="*/ 0 h 45"/>
                  <a:gd name="T6" fmla="*/ 2 w 220"/>
                  <a:gd name="T7" fmla="*/ 0 h 45"/>
                  <a:gd name="T8" fmla="*/ 2 w 220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20" h="45">
                    <a:moveTo>
                      <a:pt x="219" y="44"/>
                    </a:moveTo>
                    <a:cubicBezTo>
                      <a:pt x="146" y="44"/>
                      <a:pt x="73" y="44"/>
                      <a:pt x="0" y="44"/>
                    </a:cubicBezTo>
                    <a:cubicBezTo>
                      <a:pt x="0" y="30"/>
                      <a:pt x="0" y="15"/>
                      <a:pt x="0" y="0"/>
                    </a:cubicBezTo>
                    <a:cubicBezTo>
                      <a:pt x="73" y="0"/>
                      <a:pt x="146" y="0"/>
                      <a:pt x="219" y="0"/>
                    </a:cubicBezTo>
                    <a:cubicBezTo>
                      <a:pt x="219" y="15"/>
                      <a:pt x="219" y="30"/>
                      <a:pt x="219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20" name="Группа 19"/>
            <p:cNvGrpSpPr/>
            <p:nvPr/>
          </p:nvGrpSpPr>
          <p:grpSpPr>
            <a:xfrm>
              <a:off x="796905" y="3861048"/>
              <a:ext cx="487363" cy="487363"/>
              <a:chOff x="2541589" y="2516952"/>
              <a:chExt cx="487363" cy="487363"/>
            </a:xfrm>
          </p:grpSpPr>
          <p:sp>
            <p:nvSpPr>
              <p:cNvPr id="38" name="Freeform 254"/>
              <p:cNvSpPr>
                <a:spLocks noChangeArrowheads="1"/>
              </p:cNvSpPr>
              <p:nvPr/>
            </p:nvSpPr>
            <p:spPr bwMode="auto">
              <a:xfrm>
                <a:off x="2682876" y="2580452"/>
                <a:ext cx="203200" cy="38100"/>
              </a:xfrm>
              <a:custGeom>
                <a:avLst/>
                <a:gdLst>
                  <a:gd name="T0" fmla="*/ 7 w 570"/>
                  <a:gd name="T1" fmla="*/ 0 h 111"/>
                  <a:gd name="T2" fmla="*/ 0 w 570"/>
                  <a:gd name="T3" fmla="*/ 0 h 111"/>
                  <a:gd name="T4" fmla="*/ 0 w 570"/>
                  <a:gd name="T5" fmla="*/ 1 h 111"/>
                  <a:gd name="T6" fmla="*/ 7 w 570"/>
                  <a:gd name="T7" fmla="*/ 1 h 111"/>
                  <a:gd name="T8" fmla="*/ 7 w 570"/>
                  <a:gd name="T9" fmla="*/ 0 h 1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70" h="111">
                    <a:moveTo>
                      <a:pt x="569" y="0"/>
                    </a:moveTo>
                    <a:cubicBezTo>
                      <a:pt x="379" y="0"/>
                      <a:pt x="190" y="0"/>
                      <a:pt x="0" y="0"/>
                    </a:cubicBezTo>
                    <a:cubicBezTo>
                      <a:pt x="0" y="37"/>
                      <a:pt x="0" y="73"/>
                      <a:pt x="0" y="110"/>
                    </a:cubicBezTo>
                    <a:cubicBezTo>
                      <a:pt x="190" y="110"/>
                      <a:pt x="379" y="110"/>
                      <a:pt x="569" y="110"/>
                    </a:cubicBezTo>
                    <a:cubicBezTo>
                      <a:pt x="569" y="73"/>
                      <a:pt x="569" y="37"/>
                      <a:pt x="569" y="0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9" name="Freeform 255"/>
              <p:cNvSpPr>
                <a:spLocks noChangeArrowheads="1"/>
              </p:cNvSpPr>
              <p:nvPr/>
            </p:nvSpPr>
            <p:spPr bwMode="auto">
              <a:xfrm>
                <a:off x="2579689" y="2966215"/>
                <a:ext cx="61913" cy="30163"/>
              </a:xfrm>
              <a:custGeom>
                <a:avLst/>
                <a:gdLst>
                  <a:gd name="T0" fmla="*/ 0 w 176"/>
                  <a:gd name="T1" fmla="*/ 1 h 89"/>
                  <a:gd name="T2" fmla="*/ 0 w 176"/>
                  <a:gd name="T3" fmla="*/ 1 h 89"/>
                  <a:gd name="T4" fmla="*/ 0 w 176"/>
                  <a:gd name="T5" fmla="*/ 1 h 89"/>
                  <a:gd name="T6" fmla="*/ 1 w 176"/>
                  <a:gd name="T7" fmla="*/ 0 h 89"/>
                  <a:gd name="T8" fmla="*/ 1 w 176"/>
                  <a:gd name="T9" fmla="*/ 0 h 89"/>
                  <a:gd name="T10" fmla="*/ 2 w 176"/>
                  <a:gd name="T11" fmla="*/ 1 h 89"/>
                  <a:gd name="T12" fmla="*/ 2 w 176"/>
                  <a:gd name="T13" fmla="*/ 1 h 89"/>
                  <a:gd name="T14" fmla="*/ 0 w 176"/>
                  <a:gd name="T15" fmla="*/ 1 h 8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6" h="89">
                    <a:moveTo>
                      <a:pt x="0" y="88"/>
                    </a:moveTo>
                    <a:lnTo>
                      <a:pt x="0" y="88"/>
                    </a:lnTo>
                    <a:cubicBezTo>
                      <a:pt x="0" y="66"/>
                      <a:pt x="0" y="73"/>
                      <a:pt x="0" y="66"/>
                    </a:cubicBezTo>
                    <a:cubicBezTo>
                      <a:pt x="0" y="30"/>
                      <a:pt x="29" y="0"/>
                      <a:pt x="66" y="0"/>
                    </a:cubicBezTo>
                    <a:cubicBezTo>
                      <a:pt x="110" y="0"/>
                      <a:pt x="95" y="0"/>
                      <a:pt x="110" y="0"/>
                    </a:cubicBezTo>
                    <a:cubicBezTo>
                      <a:pt x="146" y="0"/>
                      <a:pt x="175" y="30"/>
                      <a:pt x="175" y="66"/>
                    </a:cubicBezTo>
                    <a:cubicBezTo>
                      <a:pt x="175" y="88"/>
                      <a:pt x="175" y="81"/>
                      <a:pt x="175" y="88"/>
                    </a:cubicBezTo>
                    <a:cubicBezTo>
                      <a:pt x="117" y="88"/>
                      <a:pt x="58" y="88"/>
                      <a:pt x="0" y="88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0" name="Freeform 256"/>
              <p:cNvSpPr>
                <a:spLocks noChangeArrowheads="1"/>
              </p:cNvSpPr>
              <p:nvPr/>
            </p:nvSpPr>
            <p:spPr bwMode="auto">
              <a:xfrm>
                <a:off x="2587626" y="2902715"/>
                <a:ext cx="46038" cy="46038"/>
              </a:xfrm>
              <a:custGeom>
                <a:avLst/>
                <a:gdLst>
                  <a:gd name="T0" fmla="*/ 1 w 132"/>
                  <a:gd name="T1" fmla="*/ 1 h 132"/>
                  <a:gd name="T2" fmla="*/ 1 w 132"/>
                  <a:gd name="T3" fmla="*/ 1 h 132"/>
                  <a:gd name="T4" fmla="*/ 1 w 132"/>
                  <a:gd name="T5" fmla="*/ 1 h 132"/>
                  <a:gd name="T6" fmla="*/ 0 w 132"/>
                  <a:gd name="T7" fmla="*/ 1 h 132"/>
                  <a:gd name="T8" fmla="*/ 1 w 132"/>
                  <a:gd name="T9" fmla="*/ 0 h 132"/>
                  <a:gd name="T10" fmla="*/ 1 w 132"/>
                  <a:gd name="T11" fmla="*/ 1 h 1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32" h="132">
                    <a:moveTo>
                      <a:pt x="131" y="65"/>
                    </a:moveTo>
                    <a:lnTo>
                      <a:pt x="131" y="65"/>
                    </a:lnTo>
                    <a:cubicBezTo>
                      <a:pt x="131" y="101"/>
                      <a:pt x="102" y="131"/>
                      <a:pt x="66" y="131"/>
                    </a:cubicBezTo>
                    <a:cubicBezTo>
                      <a:pt x="29" y="131"/>
                      <a:pt x="0" y="101"/>
                      <a:pt x="0" y="65"/>
                    </a:cubicBezTo>
                    <a:cubicBezTo>
                      <a:pt x="0" y="29"/>
                      <a:pt x="29" y="0"/>
                      <a:pt x="66" y="0"/>
                    </a:cubicBezTo>
                    <a:cubicBezTo>
                      <a:pt x="102" y="0"/>
                      <a:pt x="131" y="29"/>
                      <a:pt x="131" y="65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1" name="Freeform 257"/>
              <p:cNvSpPr>
                <a:spLocks noChangeArrowheads="1"/>
              </p:cNvSpPr>
              <p:nvPr/>
            </p:nvSpPr>
            <p:spPr bwMode="auto">
              <a:xfrm>
                <a:off x="2760664" y="2902715"/>
                <a:ext cx="46038" cy="46038"/>
              </a:xfrm>
              <a:custGeom>
                <a:avLst/>
                <a:gdLst>
                  <a:gd name="T0" fmla="*/ 1 w 133"/>
                  <a:gd name="T1" fmla="*/ 1 h 132"/>
                  <a:gd name="T2" fmla="*/ 1 w 133"/>
                  <a:gd name="T3" fmla="*/ 1 h 132"/>
                  <a:gd name="T4" fmla="*/ 1 w 133"/>
                  <a:gd name="T5" fmla="*/ 1 h 132"/>
                  <a:gd name="T6" fmla="*/ 0 w 133"/>
                  <a:gd name="T7" fmla="*/ 1 h 132"/>
                  <a:gd name="T8" fmla="*/ 1 w 133"/>
                  <a:gd name="T9" fmla="*/ 0 h 132"/>
                  <a:gd name="T10" fmla="*/ 1 w 133"/>
                  <a:gd name="T11" fmla="*/ 1 h 1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33" h="132">
                    <a:moveTo>
                      <a:pt x="132" y="65"/>
                    </a:moveTo>
                    <a:lnTo>
                      <a:pt x="132" y="65"/>
                    </a:lnTo>
                    <a:cubicBezTo>
                      <a:pt x="132" y="101"/>
                      <a:pt x="103" y="131"/>
                      <a:pt x="66" y="131"/>
                    </a:cubicBezTo>
                    <a:cubicBezTo>
                      <a:pt x="30" y="131"/>
                      <a:pt x="0" y="101"/>
                      <a:pt x="0" y="65"/>
                    </a:cubicBezTo>
                    <a:cubicBezTo>
                      <a:pt x="0" y="29"/>
                      <a:pt x="30" y="0"/>
                      <a:pt x="66" y="0"/>
                    </a:cubicBezTo>
                    <a:cubicBezTo>
                      <a:pt x="103" y="0"/>
                      <a:pt x="132" y="29"/>
                      <a:pt x="132" y="65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2" name="Freeform 258"/>
              <p:cNvSpPr>
                <a:spLocks noChangeArrowheads="1"/>
              </p:cNvSpPr>
              <p:nvPr/>
            </p:nvSpPr>
            <p:spPr bwMode="auto">
              <a:xfrm>
                <a:off x="2754314" y="2966215"/>
                <a:ext cx="61913" cy="30163"/>
              </a:xfrm>
              <a:custGeom>
                <a:avLst/>
                <a:gdLst>
                  <a:gd name="T0" fmla="*/ 0 w 176"/>
                  <a:gd name="T1" fmla="*/ 1 h 89"/>
                  <a:gd name="T2" fmla="*/ 0 w 176"/>
                  <a:gd name="T3" fmla="*/ 1 h 89"/>
                  <a:gd name="T4" fmla="*/ 0 w 176"/>
                  <a:gd name="T5" fmla="*/ 1 h 89"/>
                  <a:gd name="T6" fmla="*/ 1 w 176"/>
                  <a:gd name="T7" fmla="*/ 0 h 89"/>
                  <a:gd name="T8" fmla="*/ 1 w 176"/>
                  <a:gd name="T9" fmla="*/ 0 h 89"/>
                  <a:gd name="T10" fmla="*/ 2 w 176"/>
                  <a:gd name="T11" fmla="*/ 1 h 89"/>
                  <a:gd name="T12" fmla="*/ 2 w 176"/>
                  <a:gd name="T13" fmla="*/ 1 h 89"/>
                  <a:gd name="T14" fmla="*/ 0 w 176"/>
                  <a:gd name="T15" fmla="*/ 1 h 8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6" h="89">
                    <a:moveTo>
                      <a:pt x="0" y="88"/>
                    </a:moveTo>
                    <a:lnTo>
                      <a:pt x="0" y="88"/>
                    </a:lnTo>
                    <a:cubicBezTo>
                      <a:pt x="0" y="66"/>
                      <a:pt x="0" y="73"/>
                      <a:pt x="0" y="66"/>
                    </a:cubicBezTo>
                    <a:cubicBezTo>
                      <a:pt x="0" y="30"/>
                      <a:pt x="29" y="0"/>
                      <a:pt x="65" y="0"/>
                    </a:cubicBezTo>
                    <a:cubicBezTo>
                      <a:pt x="109" y="0"/>
                      <a:pt x="94" y="0"/>
                      <a:pt x="109" y="0"/>
                    </a:cubicBezTo>
                    <a:cubicBezTo>
                      <a:pt x="145" y="0"/>
                      <a:pt x="175" y="30"/>
                      <a:pt x="175" y="66"/>
                    </a:cubicBezTo>
                    <a:cubicBezTo>
                      <a:pt x="175" y="88"/>
                      <a:pt x="175" y="81"/>
                      <a:pt x="175" y="88"/>
                    </a:cubicBezTo>
                    <a:cubicBezTo>
                      <a:pt x="117" y="88"/>
                      <a:pt x="58" y="88"/>
                      <a:pt x="0" y="88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3" name="Freeform 259"/>
              <p:cNvSpPr>
                <a:spLocks noChangeArrowheads="1"/>
              </p:cNvSpPr>
              <p:nvPr/>
            </p:nvSpPr>
            <p:spPr bwMode="auto">
              <a:xfrm>
                <a:off x="2935289" y="2902715"/>
                <a:ext cx="46038" cy="46038"/>
              </a:xfrm>
              <a:custGeom>
                <a:avLst/>
                <a:gdLst>
                  <a:gd name="T0" fmla="*/ 1 w 132"/>
                  <a:gd name="T1" fmla="*/ 1 h 132"/>
                  <a:gd name="T2" fmla="*/ 1 w 132"/>
                  <a:gd name="T3" fmla="*/ 1 h 132"/>
                  <a:gd name="T4" fmla="*/ 1 w 132"/>
                  <a:gd name="T5" fmla="*/ 1 h 132"/>
                  <a:gd name="T6" fmla="*/ 0 w 132"/>
                  <a:gd name="T7" fmla="*/ 1 h 132"/>
                  <a:gd name="T8" fmla="*/ 1 w 132"/>
                  <a:gd name="T9" fmla="*/ 0 h 132"/>
                  <a:gd name="T10" fmla="*/ 1 w 132"/>
                  <a:gd name="T11" fmla="*/ 1 h 1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32" h="132">
                    <a:moveTo>
                      <a:pt x="131" y="65"/>
                    </a:moveTo>
                    <a:lnTo>
                      <a:pt x="131" y="65"/>
                    </a:lnTo>
                    <a:cubicBezTo>
                      <a:pt x="131" y="101"/>
                      <a:pt x="102" y="131"/>
                      <a:pt x="66" y="131"/>
                    </a:cubicBezTo>
                    <a:cubicBezTo>
                      <a:pt x="30" y="131"/>
                      <a:pt x="0" y="101"/>
                      <a:pt x="0" y="65"/>
                    </a:cubicBezTo>
                    <a:cubicBezTo>
                      <a:pt x="0" y="29"/>
                      <a:pt x="30" y="0"/>
                      <a:pt x="66" y="0"/>
                    </a:cubicBezTo>
                    <a:cubicBezTo>
                      <a:pt x="102" y="0"/>
                      <a:pt x="131" y="29"/>
                      <a:pt x="131" y="65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4" name="Freeform 260"/>
              <p:cNvSpPr>
                <a:spLocks noChangeArrowheads="1"/>
              </p:cNvSpPr>
              <p:nvPr/>
            </p:nvSpPr>
            <p:spPr bwMode="auto">
              <a:xfrm>
                <a:off x="2927351" y="2966215"/>
                <a:ext cx="61913" cy="30163"/>
              </a:xfrm>
              <a:custGeom>
                <a:avLst/>
                <a:gdLst>
                  <a:gd name="T0" fmla="*/ 0 w 176"/>
                  <a:gd name="T1" fmla="*/ 1 h 89"/>
                  <a:gd name="T2" fmla="*/ 0 w 176"/>
                  <a:gd name="T3" fmla="*/ 1 h 89"/>
                  <a:gd name="T4" fmla="*/ 0 w 176"/>
                  <a:gd name="T5" fmla="*/ 1 h 89"/>
                  <a:gd name="T6" fmla="*/ 1 w 176"/>
                  <a:gd name="T7" fmla="*/ 0 h 89"/>
                  <a:gd name="T8" fmla="*/ 1 w 176"/>
                  <a:gd name="T9" fmla="*/ 0 h 89"/>
                  <a:gd name="T10" fmla="*/ 2 w 176"/>
                  <a:gd name="T11" fmla="*/ 1 h 89"/>
                  <a:gd name="T12" fmla="*/ 2 w 176"/>
                  <a:gd name="T13" fmla="*/ 1 h 89"/>
                  <a:gd name="T14" fmla="*/ 0 w 176"/>
                  <a:gd name="T15" fmla="*/ 1 h 8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76" h="89">
                    <a:moveTo>
                      <a:pt x="0" y="88"/>
                    </a:moveTo>
                    <a:lnTo>
                      <a:pt x="0" y="88"/>
                    </a:lnTo>
                    <a:cubicBezTo>
                      <a:pt x="0" y="66"/>
                      <a:pt x="0" y="73"/>
                      <a:pt x="0" y="66"/>
                    </a:cubicBezTo>
                    <a:cubicBezTo>
                      <a:pt x="0" y="30"/>
                      <a:pt x="30" y="0"/>
                      <a:pt x="66" y="0"/>
                    </a:cubicBezTo>
                    <a:cubicBezTo>
                      <a:pt x="109" y="0"/>
                      <a:pt x="95" y="0"/>
                      <a:pt x="109" y="0"/>
                    </a:cubicBezTo>
                    <a:cubicBezTo>
                      <a:pt x="146" y="0"/>
                      <a:pt x="175" y="30"/>
                      <a:pt x="175" y="66"/>
                    </a:cubicBezTo>
                    <a:cubicBezTo>
                      <a:pt x="175" y="88"/>
                      <a:pt x="175" y="81"/>
                      <a:pt x="175" y="88"/>
                    </a:cubicBezTo>
                    <a:cubicBezTo>
                      <a:pt x="117" y="88"/>
                      <a:pt x="58" y="88"/>
                      <a:pt x="0" y="88"/>
                    </a:cubicBezTo>
                  </a:path>
                </a:pathLst>
              </a:custGeom>
              <a:solidFill>
                <a:srgbClr val="81D4F7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5" name="Freeform 261"/>
              <p:cNvSpPr>
                <a:spLocks noChangeArrowheads="1"/>
              </p:cNvSpPr>
              <p:nvPr/>
            </p:nvSpPr>
            <p:spPr bwMode="auto">
              <a:xfrm>
                <a:off x="2579689" y="2894777"/>
                <a:ext cx="61913" cy="61913"/>
              </a:xfrm>
              <a:custGeom>
                <a:avLst/>
                <a:gdLst>
                  <a:gd name="T0" fmla="*/ 2 w 176"/>
                  <a:gd name="T1" fmla="*/ 1 h 176"/>
                  <a:gd name="T2" fmla="*/ 2 w 176"/>
                  <a:gd name="T3" fmla="*/ 1 h 176"/>
                  <a:gd name="T4" fmla="*/ 1 w 176"/>
                  <a:gd name="T5" fmla="*/ 0 h 176"/>
                  <a:gd name="T6" fmla="*/ 0 w 176"/>
                  <a:gd name="T7" fmla="*/ 1 h 176"/>
                  <a:gd name="T8" fmla="*/ 1 w 176"/>
                  <a:gd name="T9" fmla="*/ 2 h 176"/>
                  <a:gd name="T10" fmla="*/ 2 w 176"/>
                  <a:gd name="T11" fmla="*/ 1 h 176"/>
                  <a:gd name="T12" fmla="*/ 1 w 176"/>
                  <a:gd name="T13" fmla="*/ 1 h 176"/>
                  <a:gd name="T14" fmla="*/ 1 w 176"/>
                  <a:gd name="T15" fmla="*/ 1 h 176"/>
                  <a:gd name="T16" fmla="*/ 0 w 176"/>
                  <a:gd name="T17" fmla="*/ 1 h 176"/>
                  <a:gd name="T18" fmla="*/ 1 w 176"/>
                  <a:gd name="T19" fmla="*/ 0 h 176"/>
                  <a:gd name="T20" fmla="*/ 1 w 176"/>
                  <a:gd name="T21" fmla="*/ 1 h 176"/>
                  <a:gd name="T22" fmla="*/ 1 w 176"/>
                  <a:gd name="T23" fmla="*/ 1 h 17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6" h="176">
                    <a:moveTo>
                      <a:pt x="175" y="87"/>
                    </a:moveTo>
                    <a:lnTo>
                      <a:pt x="175" y="87"/>
                    </a:lnTo>
                    <a:cubicBezTo>
                      <a:pt x="175" y="39"/>
                      <a:pt x="136" y="0"/>
                      <a:pt x="88" y="0"/>
                    </a:cubicBezTo>
                    <a:cubicBezTo>
                      <a:pt x="40" y="0"/>
                      <a:pt x="0" y="39"/>
                      <a:pt x="0" y="87"/>
                    </a:cubicBezTo>
                    <a:cubicBezTo>
                      <a:pt x="0" y="136"/>
                      <a:pt x="40" y="175"/>
                      <a:pt x="88" y="175"/>
                    </a:cubicBezTo>
                    <a:cubicBezTo>
                      <a:pt x="136" y="175"/>
                      <a:pt x="175" y="136"/>
                      <a:pt x="175" y="87"/>
                    </a:cubicBezTo>
                    <a:close/>
                    <a:moveTo>
                      <a:pt x="88" y="131"/>
                    </a:moveTo>
                    <a:lnTo>
                      <a:pt x="88" y="131"/>
                    </a:lnTo>
                    <a:cubicBezTo>
                      <a:pt x="64" y="131"/>
                      <a:pt x="44" y="111"/>
                      <a:pt x="44" y="87"/>
                    </a:cubicBezTo>
                    <a:cubicBezTo>
                      <a:pt x="44" y="63"/>
                      <a:pt x="64" y="44"/>
                      <a:pt x="88" y="44"/>
                    </a:cubicBezTo>
                    <a:cubicBezTo>
                      <a:pt x="112" y="44"/>
                      <a:pt x="132" y="63"/>
                      <a:pt x="132" y="87"/>
                    </a:cubicBezTo>
                    <a:cubicBezTo>
                      <a:pt x="132" y="111"/>
                      <a:pt x="112" y="131"/>
                      <a:pt x="88" y="131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6" name="Freeform 262"/>
              <p:cNvSpPr>
                <a:spLocks noChangeArrowheads="1"/>
              </p:cNvSpPr>
              <p:nvPr/>
            </p:nvSpPr>
            <p:spPr bwMode="auto">
              <a:xfrm>
                <a:off x="2754314" y="2894777"/>
                <a:ext cx="61913" cy="61913"/>
              </a:xfrm>
              <a:custGeom>
                <a:avLst/>
                <a:gdLst>
                  <a:gd name="T0" fmla="*/ 2 w 176"/>
                  <a:gd name="T1" fmla="*/ 1 h 176"/>
                  <a:gd name="T2" fmla="*/ 2 w 176"/>
                  <a:gd name="T3" fmla="*/ 1 h 176"/>
                  <a:gd name="T4" fmla="*/ 1 w 176"/>
                  <a:gd name="T5" fmla="*/ 0 h 176"/>
                  <a:gd name="T6" fmla="*/ 0 w 176"/>
                  <a:gd name="T7" fmla="*/ 1 h 176"/>
                  <a:gd name="T8" fmla="*/ 1 w 176"/>
                  <a:gd name="T9" fmla="*/ 2 h 176"/>
                  <a:gd name="T10" fmla="*/ 2 w 176"/>
                  <a:gd name="T11" fmla="*/ 1 h 176"/>
                  <a:gd name="T12" fmla="*/ 1 w 176"/>
                  <a:gd name="T13" fmla="*/ 1 h 176"/>
                  <a:gd name="T14" fmla="*/ 1 w 176"/>
                  <a:gd name="T15" fmla="*/ 1 h 176"/>
                  <a:gd name="T16" fmla="*/ 0 w 176"/>
                  <a:gd name="T17" fmla="*/ 1 h 176"/>
                  <a:gd name="T18" fmla="*/ 1 w 176"/>
                  <a:gd name="T19" fmla="*/ 0 h 176"/>
                  <a:gd name="T20" fmla="*/ 1 w 176"/>
                  <a:gd name="T21" fmla="*/ 1 h 176"/>
                  <a:gd name="T22" fmla="*/ 1 w 176"/>
                  <a:gd name="T23" fmla="*/ 1 h 17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6" h="176">
                    <a:moveTo>
                      <a:pt x="175" y="87"/>
                    </a:moveTo>
                    <a:lnTo>
                      <a:pt x="175" y="87"/>
                    </a:lnTo>
                    <a:cubicBezTo>
                      <a:pt x="175" y="39"/>
                      <a:pt x="136" y="0"/>
                      <a:pt x="87" y="0"/>
                    </a:cubicBezTo>
                    <a:cubicBezTo>
                      <a:pt x="39" y="0"/>
                      <a:pt x="0" y="39"/>
                      <a:pt x="0" y="87"/>
                    </a:cubicBezTo>
                    <a:cubicBezTo>
                      <a:pt x="0" y="136"/>
                      <a:pt x="39" y="175"/>
                      <a:pt x="87" y="175"/>
                    </a:cubicBezTo>
                    <a:cubicBezTo>
                      <a:pt x="136" y="175"/>
                      <a:pt x="175" y="136"/>
                      <a:pt x="175" y="87"/>
                    </a:cubicBezTo>
                    <a:close/>
                    <a:moveTo>
                      <a:pt x="87" y="131"/>
                    </a:moveTo>
                    <a:lnTo>
                      <a:pt x="87" y="131"/>
                    </a:lnTo>
                    <a:cubicBezTo>
                      <a:pt x="63" y="131"/>
                      <a:pt x="43" y="111"/>
                      <a:pt x="43" y="87"/>
                    </a:cubicBezTo>
                    <a:cubicBezTo>
                      <a:pt x="43" y="63"/>
                      <a:pt x="63" y="44"/>
                      <a:pt x="87" y="44"/>
                    </a:cubicBezTo>
                    <a:cubicBezTo>
                      <a:pt x="111" y="44"/>
                      <a:pt x="131" y="63"/>
                      <a:pt x="131" y="87"/>
                    </a:cubicBezTo>
                    <a:cubicBezTo>
                      <a:pt x="131" y="111"/>
                      <a:pt x="111" y="131"/>
                      <a:pt x="87" y="131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7" name="Freeform 263"/>
              <p:cNvSpPr>
                <a:spLocks noChangeArrowheads="1"/>
              </p:cNvSpPr>
              <p:nvPr/>
            </p:nvSpPr>
            <p:spPr bwMode="auto">
              <a:xfrm>
                <a:off x="2541589" y="2516952"/>
                <a:ext cx="487363" cy="487363"/>
              </a:xfrm>
              <a:custGeom>
                <a:avLst/>
                <a:gdLst>
                  <a:gd name="T0" fmla="*/ 14 w 1358"/>
                  <a:gd name="T1" fmla="*/ 12 h 1358"/>
                  <a:gd name="T2" fmla="*/ 8 w 1358"/>
                  <a:gd name="T3" fmla="*/ 10 h 1358"/>
                  <a:gd name="T4" fmla="*/ 13 w 1358"/>
                  <a:gd name="T5" fmla="*/ 10 h 1358"/>
                  <a:gd name="T6" fmla="*/ 2 w 1358"/>
                  <a:gd name="T7" fmla="*/ 0 h 1358"/>
                  <a:gd name="T8" fmla="*/ 7 w 1358"/>
                  <a:gd name="T9" fmla="*/ 10 h 1358"/>
                  <a:gd name="T10" fmla="*/ 2 w 1358"/>
                  <a:gd name="T11" fmla="*/ 10 h 1358"/>
                  <a:gd name="T12" fmla="*/ 0 w 1358"/>
                  <a:gd name="T13" fmla="*/ 12 h 1358"/>
                  <a:gd name="T14" fmla="*/ 5 w 1358"/>
                  <a:gd name="T15" fmla="*/ 16 h 1358"/>
                  <a:gd name="T16" fmla="*/ 2 w 1358"/>
                  <a:gd name="T17" fmla="*/ 12 h 1358"/>
                  <a:gd name="T18" fmla="*/ 7 w 1358"/>
                  <a:gd name="T19" fmla="*/ 11 h 1358"/>
                  <a:gd name="T20" fmla="*/ 6 w 1358"/>
                  <a:gd name="T21" fmla="*/ 12 h 1358"/>
                  <a:gd name="T22" fmla="*/ 10 w 1358"/>
                  <a:gd name="T23" fmla="*/ 16 h 1358"/>
                  <a:gd name="T24" fmla="*/ 8 w 1358"/>
                  <a:gd name="T25" fmla="*/ 12 h 1358"/>
                  <a:gd name="T26" fmla="*/ 13 w 1358"/>
                  <a:gd name="T27" fmla="*/ 11 h 1358"/>
                  <a:gd name="T28" fmla="*/ 11 w 1358"/>
                  <a:gd name="T29" fmla="*/ 12 h 1358"/>
                  <a:gd name="T30" fmla="*/ 16 w 1358"/>
                  <a:gd name="T31" fmla="*/ 16 h 1358"/>
                  <a:gd name="T32" fmla="*/ 14 w 1358"/>
                  <a:gd name="T33" fmla="*/ 12 h 1358"/>
                  <a:gd name="T34" fmla="*/ 3 w 1358"/>
                  <a:gd name="T35" fmla="*/ 0 h 1358"/>
                  <a:gd name="T36" fmla="*/ 13 w 1358"/>
                  <a:gd name="T37" fmla="*/ 9 h 1358"/>
                  <a:gd name="T38" fmla="*/ 3 w 1358"/>
                  <a:gd name="T39" fmla="*/ 0 h 1358"/>
                  <a:gd name="T40" fmla="*/ 2 w 1358"/>
                  <a:gd name="T41" fmla="*/ 15 h 1358"/>
                  <a:gd name="T42" fmla="*/ 2 w 1358"/>
                  <a:gd name="T43" fmla="*/ 15 h 1358"/>
                  <a:gd name="T44" fmla="*/ 2 w 1358"/>
                  <a:gd name="T45" fmla="*/ 15 h 1358"/>
                  <a:gd name="T46" fmla="*/ 4 w 1358"/>
                  <a:gd name="T47" fmla="*/ 15 h 1358"/>
                  <a:gd name="T48" fmla="*/ 2 w 1358"/>
                  <a:gd name="T49" fmla="*/ 14 h 1358"/>
                  <a:gd name="T50" fmla="*/ 2 w 1358"/>
                  <a:gd name="T51" fmla="*/ 14 h 1358"/>
                  <a:gd name="T52" fmla="*/ 0 w 1358"/>
                  <a:gd name="T53" fmla="*/ 15 h 1358"/>
                  <a:gd name="T54" fmla="*/ 2 w 1358"/>
                  <a:gd name="T55" fmla="*/ 12 h 1358"/>
                  <a:gd name="T56" fmla="*/ 4 w 1358"/>
                  <a:gd name="T57" fmla="*/ 15 h 1358"/>
                  <a:gd name="T58" fmla="*/ 7 w 1358"/>
                  <a:gd name="T59" fmla="*/ 15 h 1358"/>
                  <a:gd name="T60" fmla="*/ 8 w 1358"/>
                  <a:gd name="T61" fmla="*/ 15 h 1358"/>
                  <a:gd name="T62" fmla="*/ 7 w 1358"/>
                  <a:gd name="T63" fmla="*/ 15 h 1358"/>
                  <a:gd name="T64" fmla="*/ 10 w 1358"/>
                  <a:gd name="T65" fmla="*/ 15 h 1358"/>
                  <a:gd name="T66" fmla="*/ 8 w 1358"/>
                  <a:gd name="T67" fmla="*/ 14 h 1358"/>
                  <a:gd name="T68" fmla="*/ 7 w 1358"/>
                  <a:gd name="T69" fmla="*/ 14 h 1358"/>
                  <a:gd name="T70" fmla="*/ 6 w 1358"/>
                  <a:gd name="T71" fmla="*/ 15 h 1358"/>
                  <a:gd name="T72" fmla="*/ 8 w 1358"/>
                  <a:gd name="T73" fmla="*/ 12 h 1358"/>
                  <a:gd name="T74" fmla="*/ 10 w 1358"/>
                  <a:gd name="T75" fmla="*/ 15 h 1358"/>
                  <a:gd name="T76" fmla="*/ 13 w 1358"/>
                  <a:gd name="T77" fmla="*/ 15 h 1358"/>
                  <a:gd name="T78" fmla="*/ 14 w 1358"/>
                  <a:gd name="T79" fmla="*/ 15 h 1358"/>
                  <a:gd name="T80" fmla="*/ 13 w 1358"/>
                  <a:gd name="T81" fmla="*/ 15 h 1358"/>
                  <a:gd name="T82" fmla="*/ 15 w 1358"/>
                  <a:gd name="T83" fmla="*/ 15 h 1358"/>
                  <a:gd name="T84" fmla="*/ 14 w 1358"/>
                  <a:gd name="T85" fmla="*/ 14 h 1358"/>
                  <a:gd name="T86" fmla="*/ 13 w 1358"/>
                  <a:gd name="T87" fmla="*/ 14 h 1358"/>
                  <a:gd name="T88" fmla="*/ 12 w 1358"/>
                  <a:gd name="T89" fmla="*/ 15 h 1358"/>
                  <a:gd name="T90" fmla="*/ 13 w 1358"/>
                  <a:gd name="T91" fmla="*/ 12 h 1358"/>
                  <a:gd name="T92" fmla="*/ 15 w 1358"/>
                  <a:gd name="T93" fmla="*/ 15 h 135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358" h="1358">
                    <a:moveTo>
                      <a:pt x="1181" y="1007"/>
                    </a:moveTo>
                    <a:lnTo>
                      <a:pt x="1181" y="1007"/>
                    </a:lnTo>
                    <a:cubicBezTo>
                      <a:pt x="1181" y="898"/>
                      <a:pt x="1181" y="934"/>
                      <a:pt x="1181" y="898"/>
                    </a:cubicBezTo>
                    <a:cubicBezTo>
                      <a:pt x="700" y="898"/>
                      <a:pt x="860" y="898"/>
                      <a:pt x="700" y="898"/>
                    </a:cubicBezTo>
                    <a:cubicBezTo>
                      <a:pt x="700" y="832"/>
                      <a:pt x="700" y="854"/>
                      <a:pt x="700" y="832"/>
                    </a:cubicBezTo>
                    <a:cubicBezTo>
                      <a:pt x="1133" y="832"/>
                      <a:pt x="989" y="832"/>
                      <a:pt x="1133" y="832"/>
                    </a:cubicBezTo>
                    <a:cubicBezTo>
                      <a:pt x="1133" y="0"/>
                      <a:pt x="1133" y="277"/>
                      <a:pt x="1133" y="0"/>
                    </a:cubicBezTo>
                    <a:cubicBezTo>
                      <a:pt x="223" y="0"/>
                      <a:pt x="526" y="0"/>
                      <a:pt x="223" y="0"/>
                    </a:cubicBezTo>
                    <a:cubicBezTo>
                      <a:pt x="223" y="832"/>
                      <a:pt x="223" y="555"/>
                      <a:pt x="223" y="832"/>
                    </a:cubicBezTo>
                    <a:cubicBezTo>
                      <a:pt x="656" y="832"/>
                      <a:pt x="512" y="832"/>
                      <a:pt x="656" y="832"/>
                    </a:cubicBezTo>
                    <a:cubicBezTo>
                      <a:pt x="656" y="898"/>
                      <a:pt x="656" y="876"/>
                      <a:pt x="656" y="898"/>
                    </a:cubicBezTo>
                    <a:cubicBezTo>
                      <a:pt x="175" y="898"/>
                      <a:pt x="335" y="898"/>
                      <a:pt x="175" y="898"/>
                    </a:cubicBezTo>
                    <a:cubicBezTo>
                      <a:pt x="175" y="1007"/>
                      <a:pt x="175" y="971"/>
                      <a:pt x="175" y="1007"/>
                    </a:cubicBezTo>
                    <a:cubicBezTo>
                      <a:pt x="0" y="1007"/>
                      <a:pt x="58" y="1007"/>
                      <a:pt x="0" y="1007"/>
                    </a:cubicBezTo>
                    <a:cubicBezTo>
                      <a:pt x="0" y="1357"/>
                      <a:pt x="0" y="1240"/>
                      <a:pt x="0" y="1357"/>
                    </a:cubicBezTo>
                    <a:cubicBezTo>
                      <a:pt x="393" y="1357"/>
                      <a:pt x="262" y="1357"/>
                      <a:pt x="393" y="1357"/>
                    </a:cubicBezTo>
                    <a:cubicBezTo>
                      <a:pt x="393" y="1007"/>
                      <a:pt x="393" y="1124"/>
                      <a:pt x="393" y="1007"/>
                    </a:cubicBezTo>
                    <a:cubicBezTo>
                      <a:pt x="219" y="1007"/>
                      <a:pt x="277" y="1007"/>
                      <a:pt x="219" y="1007"/>
                    </a:cubicBezTo>
                    <a:cubicBezTo>
                      <a:pt x="219" y="941"/>
                      <a:pt x="219" y="963"/>
                      <a:pt x="219" y="941"/>
                    </a:cubicBezTo>
                    <a:cubicBezTo>
                      <a:pt x="656" y="941"/>
                      <a:pt x="510" y="941"/>
                      <a:pt x="656" y="941"/>
                    </a:cubicBezTo>
                    <a:cubicBezTo>
                      <a:pt x="656" y="1007"/>
                      <a:pt x="656" y="985"/>
                      <a:pt x="656" y="1007"/>
                    </a:cubicBezTo>
                    <a:cubicBezTo>
                      <a:pt x="481" y="1007"/>
                      <a:pt x="539" y="1007"/>
                      <a:pt x="481" y="1007"/>
                    </a:cubicBezTo>
                    <a:cubicBezTo>
                      <a:pt x="481" y="1357"/>
                      <a:pt x="481" y="1240"/>
                      <a:pt x="481" y="1357"/>
                    </a:cubicBezTo>
                    <a:cubicBezTo>
                      <a:pt x="875" y="1357"/>
                      <a:pt x="744" y="1357"/>
                      <a:pt x="875" y="1357"/>
                    </a:cubicBezTo>
                    <a:cubicBezTo>
                      <a:pt x="875" y="1007"/>
                      <a:pt x="875" y="1124"/>
                      <a:pt x="875" y="1007"/>
                    </a:cubicBezTo>
                    <a:cubicBezTo>
                      <a:pt x="700" y="1007"/>
                      <a:pt x="758" y="1007"/>
                      <a:pt x="700" y="1007"/>
                    </a:cubicBezTo>
                    <a:cubicBezTo>
                      <a:pt x="700" y="941"/>
                      <a:pt x="700" y="963"/>
                      <a:pt x="700" y="941"/>
                    </a:cubicBezTo>
                    <a:cubicBezTo>
                      <a:pt x="1138" y="941"/>
                      <a:pt x="992" y="941"/>
                      <a:pt x="1138" y="941"/>
                    </a:cubicBezTo>
                    <a:cubicBezTo>
                      <a:pt x="1138" y="1007"/>
                      <a:pt x="1138" y="985"/>
                      <a:pt x="1138" y="1007"/>
                    </a:cubicBezTo>
                    <a:cubicBezTo>
                      <a:pt x="962" y="1007"/>
                      <a:pt x="1021" y="1007"/>
                      <a:pt x="962" y="1007"/>
                    </a:cubicBezTo>
                    <a:cubicBezTo>
                      <a:pt x="962" y="1357"/>
                      <a:pt x="962" y="1240"/>
                      <a:pt x="962" y="1357"/>
                    </a:cubicBezTo>
                    <a:cubicBezTo>
                      <a:pt x="1357" y="1357"/>
                      <a:pt x="1225" y="1357"/>
                      <a:pt x="1357" y="1357"/>
                    </a:cubicBezTo>
                    <a:cubicBezTo>
                      <a:pt x="1357" y="1007"/>
                      <a:pt x="1357" y="1124"/>
                      <a:pt x="1357" y="1007"/>
                    </a:cubicBezTo>
                    <a:cubicBezTo>
                      <a:pt x="1298" y="1007"/>
                      <a:pt x="1240" y="1007"/>
                      <a:pt x="1181" y="1007"/>
                    </a:cubicBezTo>
                    <a:close/>
                    <a:moveTo>
                      <a:pt x="267" y="44"/>
                    </a:moveTo>
                    <a:lnTo>
                      <a:pt x="267" y="44"/>
                    </a:lnTo>
                    <a:cubicBezTo>
                      <a:pt x="1090" y="44"/>
                      <a:pt x="816" y="44"/>
                      <a:pt x="1090" y="44"/>
                    </a:cubicBezTo>
                    <a:cubicBezTo>
                      <a:pt x="1090" y="788"/>
                      <a:pt x="1090" y="540"/>
                      <a:pt x="1090" y="788"/>
                    </a:cubicBezTo>
                    <a:cubicBezTo>
                      <a:pt x="267" y="788"/>
                      <a:pt x="541" y="788"/>
                      <a:pt x="267" y="788"/>
                    </a:cubicBezTo>
                    <a:cubicBezTo>
                      <a:pt x="267" y="540"/>
                      <a:pt x="267" y="292"/>
                      <a:pt x="267" y="44"/>
                    </a:cubicBezTo>
                    <a:close/>
                    <a:moveTo>
                      <a:pt x="131" y="1313"/>
                    </a:moveTo>
                    <a:lnTo>
                      <a:pt x="131" y="1313"/>
                    </a:lnTo>
                    <a:cubicBezTo>
                      <a:pt x="131" y="1289"/>
                      <a:pt x="151" y="1269"/>
                      <a:pt x="175" y="1269"/>
                    </a:cubicBezTo>
                    <a:cubicBezTo>
                      <a:pt x="219" y="1269"/>
                      <a:pt x="204" y="1269"/>
                      <a:pt x="219" y="1269"/>
                    </a:cubicBezTo>
                    <a:cubicBezTo>
                      <a:pt x="243" y="1269"/>
                      <a:pt x="262" y="1289"/>
                      <a:pt x="262" y="1313"/>
                    </a:cubicBezTo>
                    <a:cubicBezTo>
                      <a:pt x="218" y="1313"/>
                      <a:pt x="175" y="1313"/>
                      <a:pt x="131" y="1313"/>
                    </a:cubicBezTo>
                    <a:close/>
                    <a:moveTo>
                      <a:pt x="350" y="1313"/>
                    </a:moveTo>
                    <a:lnTo>
                      <a:pt x="350" y="1313"/>
                    </a:lnTo>
                    <a:cubicBezTo>
                      <a:pt x="306" y="1313"/>
                      <a:pt x="321" y="1313"/>
                      <a:pt x="306" y="1313"/>
                    </a:cubicBezTo>
                    <a:cubicBezTo>
                      <a:pt x="306" y="1265"/>
                      <a:pt x="267" y="1226"/>
                      <a:pt x="219" y="1226"/>
                    </a:cubicBezTo>
                    <a:cubicBezTo>
                      <a:pt x="197" y="1226"/>
                      <a:pt x="204" y="1226"/>
                      <a:pt x="197" y="1226"/>
                    </a:cubicBezTo>
                    <a:cubicBezTo>
                      <a:pt x="175" y="1226"/>
                      <a:pt x="182" y="1226"/>
                      <a:pt x="175" y="1226"/>
                    </a:cubicBezTo>
                    <a:cubicBezTo>
                      <a:pt x="126" y="1226"/>
                      <a:pt x="87" y="1265"/>
                      <a:pt x="87" y="1313"/>
                    </a:cubicBezTo>
                    <a:cubicBezTo>
                      <a:pt x="43" y="1313"/>
                      <a:pt x="58" y="1313"/>
                      <a:pt x="43" y="1313"/>
                    </a:cubicBezTo>
                    <a:cubicBezTo>
                      <a:pt x="43" y="1051"/>
                      <a:pt x="43" y="1138"/>
                      <a:pt x="43" y="1051"/>
                    </a:cubicBezTo>
                    <a:cubicBezTo>
                      <a:pt x="197" y="1051"/>
                      <a:pt x="146" y="1051"/>
                      <a:pt x="197" y="1051"/>
                    </a:cubicBezTo>
                    <a:cubicBezTo>
                      <a:pt x="350" y="1051"/>
                      <a:pt x="299" y="1051"/>
                      <a:pt x="350" y="1051"/>
                    </a:cubicBezTo>
                    <a:cubicBezTo>
                      <a:pt x="350" y="1138"/>
                      <a:pt x="350" y="1226"/>
                      <a:pt x="350" y="1313"/>
                    </a:cubicBezTo>
                    <a:close/>
                    <a:moveTo>
                      <a:pt x="612" y="1313"/>
                    </a:moveTo>
                    <a:lnTo>
                      <a:pt x="612" y="1313"/>
                    </a:lnTo>
                    <a:cubicBezTo>
                      <a:pt x="612" y="1289"/>
                      <a:pt x="632" y="1269"/>
                      <a:pt x="656" y="1269"/>
                    </a:cubicBezTo>
                    <a:cubicBezTo>
                      <a:pt x="700" y="1269"/>
                      <a:pt x="685" y="1269"/>
                      <a:pt x="700" y="1269"/>
                    </a:cubicBezTo>
                    <a:cubicBezTo>
                      <a:pt x="724" y="1269"/>
                      <a:pt x="744" y="1289"/>
                      <a:pt x="744" y="1313"/>
                    </a:cubicBezTo>
                    <a:cubicBezTo>
                      <a:pt x="700" y="1313"/>
                      <a:pt x="656" y="1313"/>
                      <a:pt x="612" y="1313"/>
                    </a:cubicBezTo>
                    <a:close/>
                    <a:moveTo>
                      <a:pt x="831" y="1313"/>
                    </a:moveTo>
                    <a:lnTo>
                      <a:pt x="831" y="1313"/>
                    </a:lnTo>
                    <a:cubicBezTo>
                      <a:pt x="788" y="1313"/>
                      <a:pt x="802" y="1313"/>
                      <a:pt x="788" y="1313"/>
                    </a:cubicBezTo>
                    <a:cubicBezTo>
                      <a:pt x="788" y="1265"/>
                      <a:pt x="749" y="1226"/>
                      <a:pt x="700" y="1226"/>
                    </a:cubicBezTo>
                    <a:cubicBezTo>
                      <a:pt x="678" y="1226"/>
                      <a:pt x="685" y="1226"/>
                      <a:pt x="678" y="1226"/>
                    </a:cubicBezTo>
                    <a:cubicBezTo>
                      <a:pt x="656" y="1226"/>
                      <a:pt x="663" y="1226"/>
                      <a:pt x="656" y="1226"/>
                    </a:cubicBezTo>
                    <a:cubicBezTo>
                      <a:pt x="608" y="1226"/>
                      <a:pt x="569" y="1265"/>
                      <a:pt x="569" y="1313"/>
                    </a:cubicBezTo>
                    <a:cubicBezTo>
                      <a:pt x="525" y="1313"/>
                      <a:pt x="540" y="1313"/>
                      <a:pt x="525" y="1313"/>
                    </a:cubicBezTo>
                    <a:cubicBezTo>
                      <a:pt x="525" y="1051"/>
                      <a:pt x="525" y="1138"/>
                      <a:pt x="525" y="1051"/>
                    </a:cubicBezTo>
                    <a:cubicBezTo>
                      <a:pt x="678" y="1051"/>
                      <a:pt x="627" y="1051"/>
                      <a:pt x="678" y="1051"/>
                    </a:cubicBezTo>
                    <a:cubicBezTo>
                      <a:pt x="831" y="1051"/>
                      <a:pt x="780" y="1051"/>
                      <a:pt x="831" y="1051"/>
                    </a:cubicBezTo>
                    <a:cubicBezTo>
                      <a:pt x="831" y="1138"/>
                      <a:pt x="831" y="1226"/>
                      <a:pt x="831" y="1313"/>
                    </a:cubicBezTo>
                    <a:close/>
                    <a:moveTo>
                      <a:pt x="1094" y="1313"/>
                    </a:moveTo>
                    <a:lnTo>
                      <a:pt x="1094" y="1313"/>
                    </a:lnTo>
                    <a:cubicBezTo>
                      <a:pt x="1094" y="1289"/>
                      <a:pt x="1114" y="1269"/>
                      <a:pt x="1138" y="1269"/>
                    </a:cubicBezTo>
                    <a:cubicBezTo>
                      <a:pt x="1181" y="1269"/>
                      <a:pt x="1167" y="1269"/>
                      <a:pt x="1181" y="1269"/>
                    </a:cubicBezTo>
                    <a:cubicBezTo>
                      <a:pt x="1205" y="1269"/>
                      <a:pt x="1225" y="1289"/>
                      <a:pt x="1225" y="1313"/>
                    </a:cubicBezTo>
                    <a:cubicBezTo>
                      <a:pt x="1181" y="1313"/>
                      <a:pt x="1138" y="1313"/>
                      <a:pt x="1094" y="1313"/>
                    </a:cubicBezTo>
                    <a:close/>
                    <a:moveTo>
                      <a:pt x="1313" y="1313"/>
                    </a:moveTo>
                    <a:lnTo>
                      <a:pt x="1313" y="1313"/>
                    </a:lnTo>
                    <a:cubicBezTo>
                      <a:pt x="1269" y="1313"/>
                      <a:pt x="1284" y="1313"/>
                      <a:pt x="1269" y="1313"/>
                    </a:cubicBezTo>
                    <a:cubicBezTo>
                      <a:pt x="1269" y="1265"/>
                      <a:pt x="1230" y="1226"/>
                      <a:pt x="1181" y="1226"/>
                    </a:cubicBezTo>
                    <a:cubicBezTo>
                      <a:pt x="1160" y="1226"/>
                      <a:pt x="1167" y="1226"/>
                      <a:pt x="1160" y="1226"/>
                    </a:cubicBezTo>
                    <a:cubicBezTo>
                      <a:pt x="1138" y="1226"/>
                      <a:pt x="1145" y="1226"/>
                      <a:pt x="1138" y="1226"/>
                    </a:cubicBezTo>
                    <a:cubicBezTo>
                      <a:pt x="1090" y="1226"/>
                      <a:pt x="1051" y="1265"/>
                      <a:pt x="1051" y="1313"/>
                    </a:cubicBezTo>
                    <a:cubicBezTo>
                      <a:pt x="1007" y="1313"/>
                      <a:pt x="1022" y="1313"/>
                      <a:pt x="1007" y="1313"/>
                    </a:cubicBezTo>
                    <a:cubicBezTo>
                      <a:pt x="1007" y="1051"/>
                      <a:pt x="1007" y="1138"/>
                      <a:pt x="1007" y="1051"/>
                    </a:cubicBezTo>
                    <a:cubicBezTo>
                      <a:pt x="1160" y="1051"/>
                      <a:pt x="1109" y="1051"/>
                      <a:pt x="1160" y="1051"/>
                    </a:cubicBezTo>
                    <a:cubicBezTo>
                      <a:pt x="1313" y="1051"/>
                      <a:pt x="1262" y="1051"/>
                      <a:pt x="1313" y="1051"/>
                    </a:cubicBezTo>
                    <a:cubicBezTo>
                      <a:pt x="1313" y="1138"/>
                      <a:pt x="1313" y="1226"/>
                      <a:pt x="1313" y="131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8" name="Freeform 264"/>
              <p:cNvSpPr>
                <a:spLocks noChangeArrowheads="1"/>
              </p:cNvSpPr>
              <p:nvPr/>
            </p:nvSpPr>
            <p:spPr bwMode="auto">
              <a:xfrm>
                <a:off x="2927351" y="2894777"/>
                <a:ext cx="61913" cy="61913"/>
              </a:xfrm>
              <a:custGeom>
                <a:avLst/>
                <a:gdLst>
                  <a:gd name="T0" fmla="*/ 2 w 176"/>
                  <a:gd name="T1" fmla="*/ 1 h 176"/>
                  <a:gd name="T2" fmla="*/ 2 w 176"/>
                  <a:gd name="T3" fmla="*/ 1 h 176"/>
                  <a:gd name="T4" fmla="*/ 1 w 176"/>
                  <a:gd name="T5" fmla="*/ 0 h 176"/>
                  <a:gd name="T6" fmla="*/ 0 w 176"/>
                  <a:gd name="T7" fmla="*/ 1 h 176"/>
                  <a:gd name="T8" fmla="*/ 1 w 176"/>
                  <a:gd name="T9" fmla="*/ 2 h 176"/>
                  <a:gd name="T10" fmla="*/ 2 w 176"/>
                  <a:gd name="T11" fmla="*/ 1 h 176"/>
                  <a:gd name="T12" fmla="*/ 1 w 176"/>
                  <a:gd name="T13" fmla="*/ 1 h 176"/>
                  <a:gd name="T14" fmla="*/ 1 w 176"/>
                  <a:gd name="T15" fmla="*/ 1 h 176"/>
                  <a:gd name="T16" fmla="*/ 0 w 176"/>
                  <a:gd name="T17" fmla="*/ 1 h 176"/>
                  <a:gd name="T18" fmla="*/ 1 w 176"/>
                  <a:gd name="T19" fmla="*/ 0 h 176"/>
                  <a:gd name="T20" fmla="*/ 1 w 176"/>
                  <a:gd name="T21" fmla="*/ 1 h 176"/>
                  <a:gd name="T22" fmla="*/ 1 w 176"/>
                  <a:gd name="T23" fmla="*/ 1 h 17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6" h="176">
                    <a:moveTo>
                      <a:pt x="175" y="87"/>
                    </a:moveTo>
                    <a:lnTo>
                      <a:pt x="175" y="87"/>
                    </a:lnTo>
                    <a:cubicBezTo>
                      <a:pt x="175" y="39"/>
                      <a:pt x="136" y="0"/>
                      <a:pt x="88" y="0"/>
                    </a:cubicBezTo>
                    <a:cubicBezTo>
                      <a:pt x="39" y="0"/>
                      <a:pt x="0" y="39"/>
                      <a:pt x="0" y="87"/>
                    </a:cubicBezTo>
                    <a:cubicBezTo>
                      <a:pt x="0" y="136"/>
                      <a:pt x="39" y="175"/>
                      <a:pt x="88" y="175"/>
                    </a:cubicBezTo>
                    <a:cubicBezTo>
                      <a:pt x="136" y="175"/>
                      <a:pt x="175" y="136"/>
                      <a:pt x="175" y="87"/>
                    </a:cubicBezTo>
                    <a:close/>
                    <a:moveTo>
                      <a:pt x="88" y="131"/>
                    </a:moveTo>
                    <a:lnTo>
                      <a:pt x="88" y="131"/>
                    </a:lnTo>
                    <a:cubicBezTo>
                      <a:pt x="64" y="131"/>
                      <a:pt x="44" y="111"/>
                      <a:pt x="44" y="87"/>
                    </a:cubicBezTo>
                    <a:cubicBezTo>
                      <a:pt x="44" y="63"/>
                      <a:pt x="64" y="44"/>
                      <a:pt x="88" y="44"/>
                    </a:cubicBezTo>
                    <a:cubicBezTo>
                      <a:pt x="112" y="44"/>
                      <a:pt x="131" y="63"/>
                      <a:pt x="131" y="87"/>
                    </a:cubicBezTo>
                    <a:cubicBezTo>
                      <a:pt x="131" y="111"/>
                      <a:pt x="112" y="131"/>
                      <a:pt x="88" y="131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49" name="Freeform 265"/>
              <p:cNvSpPr>
                <a:spLocks noChangeArrowheads="1"/>
              </p:cNvSpPr>
              <p:nvPr/>
            </p:nvSpPr>
            <p:spPr bwMode="auto">
              <a:xfrm>
                <a:off x="2651126" y="2737615"/>
                <a:ext cx="266700" cy="46038"/>
              </a:xfrm>
              <a:custGeom>
                <a:avLst/>
                <a:gdLst>
                  <a:gd name="T0" fmla="*/ 7 w 746"/>
                  <a:gd name="T1" fmla="*/ 0 h 132"/>
                  <a:gd name="T2" fmla="*/ 6 w 746"/>
                  <a:gd name="T3" fmla="*/ 0 h 132"/>
                  <a:gd name="T4" fmla="*/ 6 w 746"/>
                  <a:gd name="T5" fmla="*/ 0 h 132"/>
                  <a:gd name="T6" fmla="*/ 0 w 746"/>
                  <a:gd name="T7" fmla="*/ 0 h 132"/>
                  <a:gd name="T8" fmla="*/ 0 w 746"/>
                  <a:gd name="T9" fmla="*/ 1 h 132"/>
                  <a:gd name="T10" fmla="*/ 6 w 746"/>
                  <a:gd name="T11" fmla="*/ 1 h 132"/>
                  <a:gd name="T12" fmla="*/ 6 w 746"/>
                  <a:gd name="T13" fmla="*/ 1 h 132"/>
                  <a:gd name="T14" fmla="*/ 7 w 746"/>
                  <a:gd name="T15" fmla="*/ 1 h 132"/>
                  <a:gd name="T16" fmla="*/ 7 w 746"/>
                  <a:gd name="T17" fmla="*/ 1 h 132"/>
                  <a:gd name="T18" fmla="*/ 9 w 746"/>
                  <a:gd name="T19" fmla="*/ 1 h 132"/>
                  <a:gd name="T20" fmla="*/ 9 w 746"/>
                  <a:gd name="T21" fmla="*/ 0 h 132"/>
                  <a:gd name="T22" fmla="*/ 7 w 746"/>
                  <a:gd name="T23" fmla="*/ 0 h 132"/>
                  <a:gd name="T24" fmla="*/ 7 w 746"/>
                  <a:gd name="T25" fmla="*/ 0 h 132"/>
                  <a:gd name="T26" fmla="*/ 7 w 746"/>
                  <a:gd name="T27" fmla="*/ 1 h 132"/>
                  <a:gd name="T28" fmla="*/ 6 w 746"/>
                  <a:gd name="T29" fmla="*/ 1 h 132"/>
                  <a:gd name="T30" fmla="*/ 6 w 746"/>
                  <a:gd name="T31" fmla="*/ 0 h 132"/>
                  <a:gd name="T32" fmla="*/ 7 w 746"/>
                  <a:gd name="T33" fmla="*/ 0 h 132"/>
                  <a:gd name="T34" fmla="*/ 7 w 746"/>
                  <a:gd name="T35" fmla="*/ 1 h 13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46" h="132">
                    <a:moveTo>
                      <a:pt x="613" y="0"/>
                    </a:moveTo>
                    <a:cubicBezTo>
                      <a:pt x="569" y="0"/>
                      <a:pt x="526" y="0"/>
                      <a:pt x="482" y="0"/>
                    </a:cubicBezTo>
                    <a:cubicBezTo>
                      <a:pt x="482" y="15"/>
                      <a:pt x="482" y="29"/>
                      <a:pt x="482" y="44"/>
                    </a:cubicBezTo>
                    <a:cubicBezTo>
                      <a:pt x="321" y="44"/>
                      <a:pt x="161" y="44"/>
                      <a:pt x="0" y="44"/>
                    </a:cubicBezTo>
                    <a:cubicBezTo>
                      <a:pt x="0" y="58"/>
                      <a:pt x="0" y="73"/>
                      <a:pt x="0" y="87"/>
                    </a:cubicBezTo>
                    <a:cubicBezTo>
                      <a:pt x="161" y="87"/>
                      <a:pt x="321" y="87"/>
                      <a:pt x="482" y="87"/>
                    </a:cubicBezTo>
                    <a:cubicBezTo>
                      <a:pt x="482" y="102"/>
                      <a:pt x="482" y="116"/>
                      <a:pt x="482" y="131"/>
                    </a:cubicBezTo>
                    <a:cubicBezTo>
                      <a:pt x="526" y="131"/>
                      <a:pt x="569" y="131"/>
                      <a:pt x="613" y="131"/>
                    </a:cubicBezTo>
                    <a:cubicBezTo>
                      <a:pt x="613" y="116"/>
                      <a:pt x="613" y="102"/>
                      <a:pt x="613" y="87"/>
                    </a:cubicBezTo>
                    <a:cubicBezTo>
                      <a:pt x="657" y="87"/>
                      <a:pt x="701" y="87"/>
                      <a:pt x="745" y="87"/>
                    </a:cubicBezTo>
                    <a:cubicBezTo>
                      <a:pt x="745" y="73"/>
                      <a:pt x="745" y="58"/>
                      <a:pt x="745" y="44"/>
                    </a:cubicBezTo>
                    <a:cubicBezTo>
                      <a:pt x="701" y="44"/>
                      <a:pt x="657" y="44"/>
                      <a:pt x="613" y="44"/>
                    </a:cubicBezTo>
                    <a:cubicBezTo>
                      <a:pt x="613" y="29"/>
                      <a:pt x="613" y="15"/>
                      <a:pt x="613" y="0"/>
                    </a:cubicBezTo>
                    <a:close/>
                    <a:moveTo>
                      <a:pt x="569" y="87"/>
                    </a:moveTo>
                    <a:cubicBezTo>
                      <a:pt x="554" y="87"/>
                      <a:pt x="540" y="87"/>
                      <a:pt x="525" y="87"/>
                    </a:cubicBezTo>
                    <a:cubicBezTo>
                      <a:pt x="525" y="73"/>
                      <a:pt x="525" y="58"/>
                      <a:pt x="525" y="44"/>
                    </a:cubicBezTo>
                    <a:cubicBezTo>
                      <a:pt x="540" y="44"/>
                      <a:pt x="554" y="44"/>
                      <a:pt x="569" y="44"/>
                    </a:cubicBezTo>
                    <a:cubicBezTo>
                      <a:pt x="569" y="58"/>
                      <a:pt x="569" y="73"/>
                      <a:pt x="569" y="87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0" name="Freeform 266"/>
              <p:cNvSpPr>
                <a:spLocks noChangeArrowheads="1"/>
              </p:cNvSpPr>
              <p:nvPr/>
            </p:nvSpPr>
            <p:spPr bwMode="auto">
              <a:xfrm>
                <a:off x="2651126" y="2548702"/>
                <a:ext cx="266700" cy="109538"/>
              </a:xfrm>
              <a:custGeom>
                <a:avLst/>
                <a:gdLst>
                  <a:gd name="T0" fmla="*/ 0 w 746"/>
                  <a:gd name="T1" fmla="*/ 4 h 307"/>
                  <a:gd name="T2" fmla="*/ 9 w 746"/>
                  <a:gd name="T3" fmla="*/ 4 h 307"/>
                  <a:gd name="T4" fmla="*/ 9 w 746"/>
                  <a:gd name="T5" fmla="*/ 0 h 307"/>
                  <a:gd name="T6" fmla="*/ 0 w 746"/>
                  <a:gd name="T7" fmla="*/ 0 h 307"/>
                  <a:gd name="T8" fmla="*/ 0 w 746"/>
                  <a:gd name="T9" fmla="*/ 4 h 307"/>
                  <a:gd name="T10" fmla="*/ 0 w 746"/>
                  <a:gd name="T11" fmla="*/ 0 h 307"/>
                  <a:gd name="T12" fmla="*/ 8 w 746"/>
                  <a:gd name="T13" fmla="*/ 0 h 307"/>
                  <a:gd name="T14" fmla="*/ 8 w 746"/>
                  <a:gd name="T15" fmla="*/ 3 h 307"/>
                  <a:gd name="T16" fmla="*/ 0 w 746"/>
                  <a:gd name="T17" fmla="*/ 3 h 307"/>
                  <a:gd name="T18" fmla="*/ 0 w 746"/>
                  <a:gd name="T19" fmla="*/ 0 h 30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746" h="307">
                    <a:moveTo>
                      <a:pt x="0" y="306"/>
                    </a:moveTo>
                    <a:cubicBezTo>
                      <a:pt x="248" y="306"/>
                      <a:pt x="497" y="306"/>
                      <a:pt x="745" y="306"/>
                    </a:cubicBezTo>
                    <a:cubicBezTo>
                      <a:pt x="745" y="204"/>
                      <a:pt x="745" y="102"/>
                      <a:pt x="745" y="0"/>
                    </a:cubicBezTo>
                    <a:cubicBezTo>
                      <a:pt x="497" y="0"/>
                      <a:pt x="248" y="0"/>
                      <a:pt x="0" y="0"/>
                    </a:cubicBezTo>
                    <a:cubicBezTo>
                      <a:pt x="0" y="102"/>
                      <a:pt x="0" y="204"/>
                      <a:pt x="0" y="306"/>
                    </a:cubicBezTo>
                    <a:close/>
                    <a:moveTo>
                      <a:pt x="44" y="43"/>
                    </a:moveTo>
                    <a:cubicBezTo>
                      <a:pt x="263" y="43"/>
                      <a:pt x="482" y="43"/>
                      <a:pt x="701" y="43"/>
                    </a:cubicBezTo>
                    <a:cubicBezTo>
                      <a:pt x="701" y="116"/>
                      <a:pt x="701" y="189"/>
                      <a:pt x="701" y="262"/>
                    </a:cubicBezTo>
                    <a:cubicBezTo>
                      <a:pt x="482" y="262"/>
                      <a:pt x="263" y="262"/>
                      <a:pt x="44" y="262"/>
                    </a:cubicBezTo>
                    <a:cubicBezTo>
                      <a:pt x="44" y="189"/>
                      <a:pt x="44" y="116"/>
                      <a:pt x="44" y="4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1" name="Freeform 267"/>
              <p:cNvSpPr>
                <a:spLocks noChangeArrowheads="1"/>
              </p:cNvSpPr>
              <p:nvPr/>
            </p:nvSpPr>
            <p:spPr bwMode="auto">
              <a:xfrm>
                <a:off x="2682876" y="2596327"/>
                <a:ext cx="203200" cy="30163"/>
              </a:xfrm>
              <a:custGeom>
                <a:avLst/>
                <a:gdLst>
                  <a:gd name="T0" fmla="*/ 6 w 570"/>
                  <a:gd name="T1" fmla="*/ 0 h 89"/>
                  <a:gd name="T2" fmla="*/ 5 w 570"/>
                  <a:gd name="T3" fmla="*/ 0 h 89"/>
                  <a:gd name="T4" fmla="*/ 5 w 570"/>
                  <a:gd name="T5" fmla="*/ 0 h 89"/>
                  <a:gd name="T6" fmla="*/ 5 w 570"/>
                  <a:gd name="T7" fmla="*/ 0 h 89"/>
                  <a:gd name="T8" fmla="*/ 5 w 570"/>
                  <a:gd name="T9" fmla="*/ 0 h 89"/>
                  <a:gd name="T10" fmla="*/ 4 w 570"/>
                  <a:gd name="T11" fmla="*/ 0 h 89"/>
                  <a:gd name="T12" fmla="*/ 4 w 570"/>
                  <a:gd name="T13" fmla="*/ 0 h 89"/>
                  <a:gd name="T14" fmla="*/ 4 w 570"/>
                  <a:gd name="T15" fmla="*/ 0 h 89"/>
                  <a:gd name="T16" fmla="*/ 4 w 570"/>
                  <a:gd name="T17" fmla="*/ 0 h 89"/>
                  <a:gd name="T18" fmla="*/ 3 w 570"/>
                  <a:gd name="T19" fmla="*/ 0 h 89"/>
                  <a:gd name="T20" fmla="*/ 3 w 570"/>
                  <a:gd name="T21" fmla="*/ 0 h 89"/>
                  <a:gd name="T22" fmla="*/ 3 w 570"/>
                  <a:gd name="T23" fmla="*/ 0 h 89"/>
                  <a:gd name="T24" fmla="*/ 3 w 570"/>
                  <a:gd name="T25" fmla="*/ 0 h 89"/>
                  <a:gd name="T26" fmla="*/ 2 w 570"/>
                  <a:gd name="T27" fmla="*/ 0 h 89"/>
                  <a:gd name="T28" fmla="*/ 2 w 570"/>
                  <a:gd name="T29" fmla="*/ 0 h 89"/>
                  <a:gd name="T30" fmla="*/ 2 w 570"/>
                  <a:gd name="T31" fmla="*/ 0 h 89"/>
                  <a:gd name="T32" fmla="*/ 2 w 570"/>
                  <a:gd name="T33" fmla="*/ 0 h 89"/>
                  <a:gd name="T34" fmla="*/ 2 w 570"/>
                  <a:gd name="T35" fmla="*/ 0 h 89"/>
                  <a:gd name="T36" fmla="*/ 2 w 570"/>
                  <a:gd name="T37" fmla="*/ 0 h 89"/>
                  <a:gd name="T38" fmla="*/ 1 w 570"/>
                  <a:gd name="T39" fmla="*/ 0 h 89"/>
                  <a:gd name="T40" fmla="*/ 1 w 570"/>
                  <a:gd name="T41" fmla="*/ 0 h 89"/>
                  <a:gd name="T42" fmla="*/ 0 w 570"/>
                  <a:gd name="T43" fmla="*/ 0 h 89"/>
                  <a:gd name="T44" fmla="*/ 0 w 570"/>
                  <a:gd name="T45" fmla="*/ 0 h 89"/>
                  <a:gd name="T46" fmla="*/ 0 w 570"/>
                  <a:gd name="T47" fmla="*/ 0 h 89"/>
                  <a:gd name="T48" fmla="*/ 0 w 570"/>
                  <a:gd name="T49" fmla="*/ 1 h 89"/>
                  <a:gd name="T50" fmla="*/ 7 w 570"/>
                  <a:gd name="T51" fmla="*/ 1 h 89"/>
                  <a:gd name="T52" fmla="*/ 7 w 570"/>
                  <a:gd name="T53" fmla="*/ 0 h 89"/>
                  <a:gd name="T54" fmla="*/ 6 w 570"/>
                  <a:gd name="T55" fmla="*/ 0 h 89"/>
                  <a:gd name="T56" fmla="*/ 6 w 570"/>
                  <a:gd name="T57" fmla="*/ 0 h 8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70" h="89">
                    <a:moveTo>
                      <a:pt x="526" y="0"/>
                    </a:moveTo>
                    <a:cubicBezTo>
                      <a:pt x="511" y="0"/>
                      <a:pt x="497" y="0"/>
                      <a:pt x="482" y="0"/>
                    </a:cubicBezTo>
                    <a:cubicBezTo>
                      <a:pt x="482" y="15"/>
                      <a:pt x="482" y="29"/>
                      <a:pt x="482" y="44"/>
                    </a:cubicBezTo>
                    <a:cubicBezTo>
                      <a:pt x="467" y="44"/>
                      <a:pt x="453" y="44"/>
                      <a:pt x="438" y="44"/>
                    </a:cubicBezTo>
                    <a:cubicBezTo>
                      <a:pt x="438" y="29"/>
                      <a:pt x="438" y="15"/>
                      <a:pt x="438" y="0"/>
                    </a:cubicBezTo>
                    <a:cubicBezTo>
                      <a:pt x="424" y="0"/>
                      <a:pt x="409" y="0"/>
                      <a:pt x="395" y="0"/>
                    </a:cubicBezTo>
                    <a:cubicBezTo>
                      <a:pt x="395" y="15"/>
                      <a:pt x="395" y="29"/>
                      <a:pt x="395" y="44"/>
                    </a:cubicBezTo>
                    <a:cubicBezTo>
                      <a:pt x="380" y="44"/>
                      <a:pt x="366" y="44"/>
                      <a:pt x="351" y="44"/>
                    </a:cubicBezTo>
                    <a:cubicBezTo>
                      <a:pt x="351" y="29"/>
                      <a:pt x="351" y="15"/>
                      <a:pt x="351" y="0"/>
                    </a:cubicBezTo>
                    <a:cubicBezTo>
                      <a:pt x="336" y="0"/>
                      <a:pt x="322" y="0"/>
                      <a:pt x="307" y="0"/>
                    </a:cubicBezTo>
                    <a:cubicBezTo>
                      <a:pt x="307" y="15"/>
                      <a:pt x="307" y="29"/>
                      <a:pt x="307" y="44"/>
                    </a:cubicBezTo>
                    <a:cubicBezTo>
                      <a:pt x="292" y="44"/>
                      <a:pt x="278" y="44"/>
                      <a:pt x="263" y="44"/>
                    </a:cubicBezTo>
                    <a:cubicBezTo>
                      <a:pt x="263" y="29"/>
                      <a:pt x="263" y="15"/>
                      <a:pt x="263" y="0"/>
                    </a:cubicBezTo>
                    <a:cubicBezTo>
                      <a:pt x="248" y="0"/>
                      <a:pt x="234" y="0"/>
                      <a:pt x="219" y="0"/>
                    </a:cubicBezTo>
                    <a:cubicBezTo>
                      <a:pt x="219" y="15"/>
                      <a:pt x="219" y="29"/>
                      <a:pt x="219" y="44"/>
                    </a:cubicBezTo>
                    <a:cubicBezTo>
                      <a:pt x="205" y="44"/>
                      <a:pt x="190" y="44"/>
                      <a:pt x="176" y="44"/>
                    </a:cubicBezTo>
                    <a:cubicBezTo>
                      <a:pt x="176" y="29"/>
                      <a:pt x="176" y="15"/>
                      <a:pt x="176" y="0"/>
                    </a:cubicBezTo>
                    <a:cubicBezTo>
                      <a:pt x="161" y="0"/>
                      <a:pt x="147" y="0"/>
                      <a:pt x="132" y="0"/>
                    </a:cubicBezTo>
                    <a:cubicBezTo>
                      <a:pt x="132" y="15"/>
                      <a:pt x="132" y="29"/>
                      <a:pt x="132" y="44"/>
                    </a:cubicBezTo>
                    <a:cubicBezTo>
                      <a:pt x="117" y="44"/>
                      <a:pt x="103" y="44"/>
                      <a:pt x="88" y="44"/>
                    </a:cubicBezTo>
                    <a:cubicBezTo>
                      <a:pt x="88" y="29"/>
                      <a:pt x="88" y="15"/>
                      <a:pt x="88" y="0"/>
                    </a:cubicBezTo>
                    <a:cubicBezTo>
                      <a:pt x="74" y="0"/>
                      <a:pt x="59" y="0"/>
                      <a:pt x="45" y="0"/>
                    </a:cubicBezTo>
                    <a:cubicBezTo>
                      <a:pt x="45" y="15"/>
                      <a:pt x="45" y="29"/>
                      <a:pt x="45" y="44"/>
                    </a:cubicBezTo>
                    <a:cubicBezTo>
                      <a:pt x="30" y="44"/>
                      <a:pt x="15" y="44"/>
                      <a:pt x="0" y="44"/>
                    </a:cubicBezTo>
                    <a:cubicBezTo>
                      <a:pt x="0" y="59"/>
                      <a:pt x="0" y="73"/>
                      <a:pt x="0" y="88"/>
                    </a:cubicBezTo>
                    <a:cubicBezTo>
                      <a:pt x="190" y="88"/>
                      <a:pt x="379" y="88"/>
                      <a:pt x="569" y="88"/>
                    </a:cubicBezTo>
                    <a:cubicBezTo>
                      <a:pt x="569" y="73"/>
                      <a:pt x="569" y="59"/>
                      <a:pt x="569" y="44"/>
                    </a:cubicBezTo>
                    <a:cubicBezTo>
                      <a:pt x="555" y="44"/>
                      <a:pt x="540" y="44"/>
                      <a:pt x="526" y="44"/>
                    </a:cubicBezTo>
                    <a:cubicBezTo>
                      <a:pt x="526" y="29"/>
                      <a:pt x="526" y="15"/>
                      <a:pt x="526" y="0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2" name="Freeform 268"/>
              <p:cNvSpPr>
                <a:spLocks noChangeArrowheads="1"/>
              </p:cNvSpPr>
              <p:nvPr/>
            </p:nvSpPr>
            <p:spPr bwMode="auto">
              <a:xfrm>
                <a:off x="2651126" y="2674115"/>
                <a:ext cx="61913" cy="61913"/>
              </a:xfrm>
              <a:custGeom>
                <a:avLst/>
                <a:gdLst>
                  <a:gd name="T0" fmla="*/ 2 w 176"/>
                  <a:gd name="T1" fmla="*/ 1 h 176"/>
                  <a:gd name="T2" fmla="*/ 2 w 176"/>
                  <a:gd name="T3" fmla="*/ 1 h 176"/>
                  <a:gd name="T4" fmla="*/ 1 w 176"/>
                  <a:gd name="T5" fmla="*/ 0 h 176"/>
                  <a:gd name="T6" fmla="*/ 0 w 176"/>
                  <a:gd name="T7" fmla="*/ 1 h 176"/>
                  <a:gd name="T8" fmla="*/ 1 w 176"/>
                  <a:gd name="T9" fmla="*/ 2 h 176"/>
                  <a:gd name="T10" fmla="*/ 2 w 176"/>
                  <a:gd name="T11" fmla="*/ 1 h 176"/>
                  <a:gd name="T12" fmla="*/ 0 w 176"/>
                  <a:gd name="T13" fmla="*/ 1 h 176"/>
                  <a:gd name="T14" fmla="*/ 0 w 176"/>
                  <a:gd name="T15" fmla="*/ 1 h 176"/>
                  <a:gd name="T16" fmla="*/ 1 w 176"/>
                  <a:gd name="T17" fmla="*/ 0 h 176"/>
                  <a:gd name="T18" fmla="*/ 1 w 176"/>
                  <a:gd name="T19" fmla="*/ 1 h 176"/>
                  <a:gd name="T20" fmla="*/ 1 w 176"/>
                  <a:gd name="T21" fmla="*/ 1 h 176"/>
                  <a:gd name="T22" fmla="*/ 0 w 176"/>
                  <a:gd name="T23" fmla="*/ 1 h 17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6" h="176">
                    <a:moveTo>
                      <a:pt x="175" y="88"/>
                    </a:moveTo>
                    <a:lnTo>
                      <a:pt x="175" y="88"/>
                    </a:lnTo>
                    <a:cubicBezTo>
                      <a:pt x="175" y="39"/>
                      <a:pt x="136" y="0"/>
                      <a:pt x="87" y="0"/>
                    </a:cubicBezTo>
                    <a:cubicBezTo>
                      <a:pt x="39" y="0"/>
                      <a:pt x="0" y="39"/>
                      <a:pt x="0" y="88"/>
                    </a:cubicBezTo>
                    <a:cubicBezTo>
                      <a:pt x="0" y="136"/>
                      <a:pt x="39" y="175"/>
                      <a:pt x="87" y="175"/>
                    </a:cubicBezTo>
                    <a:cubicBezTo>
                      <a:pt x="136" y="175"/>
                      <a:pt x="175" y="136"/>
                      <a:pt x="175" y="88"/>
                    </a:cubicBezTo>
                    <a:close/>
                    <a:moveTo>
                      <a:pt x="44" y="88"/>
                    </a:moveTo>
                    <a:lnTo>
                      <a:pt x="44" y="88"/>
                    </a:lnTo>
                    <a:cubicBezTo>
                      <a:pt x="44" y="63"/>
                      <a:pt x="63" y="44"/>
                      <a:pt x="87" y="44"/>
                    </a:cubicBezTo>
                    <a:cubicBezTo>
                      <a:pt x="112" y="44"/>
                      <a:pt x="132" y="63"/>
                      <a:pt x="132" y="88"/>
                    </a:cubicBezTo>
                    <a:cubicBezTo>
                      <a:pt x="132" y="112"/>
                      <a:pt x="112" y="131"/>
                      <a:pt x="87" y="131"/>
                    </a:cubicBezTo>
                    <a:cubicBezTo>
                      <a:pt x="63" y="131"/>
                      <a:pt x="44" y="112"/>
                      <a:pt x="44" y="88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3" name="Freeform 269"/>
              <p:cNvSpPr>
                <a:spLocks noChangeArrowheads="1"/>
              </p:cNvSpPr>
              <p:nvPr/>
            </p:nvSpPr>
            <p:spPr bwMode="auto">
              <a:xfrm>
                <a:off x="2730501" y="2674115"/>
                <a:ext cx="61913" cy="61913"/>
              </a:xfrm>
              <a:custGeom>
                <a:avLst/>
                <a:gdLst>
                  <a:gd name="T0" fmla="*/ 2 w 176"/>
                  <a:gd name="T1" fmla="*/ 1 h 176"/>
                  <a:gd name="T2" fmla="*/ 2 w 176"/>
                  <a:gd name="T3" fmla="*/ 1 h 176"/>
                  <a:gd name="T4" fmla="*/ 1 w 176"/>
                  <a:gd name="T5" fmla="*/ 0 h 176"/>
                  <a:gd name="T6" fmla="*/ 0 w 176"/>
                  <a:gd name="T7" fmla="*/ 1 h 176"/>
                  <a:gd name="T8" fmla="*/ 1 w 176"/>
                  <a:gd name="T9" fmla="*/ 2 h 176"/>
                  <a:gd name="T10" fmla="*/ 2 w 176"/>
                  <a:gd name="T11" fmla="*/ 1 h 176"/>
                  <a:gd name="T12" fmla="*/ 0 w 176"/>
                  <a:gd name="T13" fmla="*/ 1 h 176"/>
                  <a:gd name="T14" fmla="*/ 0 w 176"/>
                  <a:gd name="T15" fmla="*/ 1 h 176"/>
                  <a:gd name="T16" fmla="*/ 1 w 176"/>
                  <a:gd name="T17" fmla="*/ 0 h 176"/>
                  <a:gd name="T18" fmla="*/ 1 w 176"/>
                  <a:gd name="T19" fmla="*/ 1 h 176"/>
                  <a:gd name="T20" fmla="*/ 1 w 176"/>
                  <a:gd name="T21" fmla="*/ 1 h 176"/>
                  <a:gd name="T22" fmla="*/ 0 w 176"/>
                  <a:gd name="T23" fmla="*/ 1 h 17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6" h="176">
                    <a:moveTo>
                      <a:pt x="175" y="88"/>
                    </a:moveTo>
                    <a:lnTo>
                      <a:pt x="175" y="88"/>
                    </a:lnTo>
                    <a:cubicBezTo>
                      <a:pt x="175" y="39"/>
                      <a:pt x="136" y="0"/>
                      <a:pt x="87" y="0"/>
                    </a:cubicBezTo>
                    <a:cubicBezTo>
                      <a:pt x="39" y="0"/>
                      <a:pt x="0" y="39"/>
                      <a:pt x="0" y="88"/>
                    </a:cubicBezTo>
                    <a:cubicBezTo>
                      <a:pt x="0" y="136"/>
                      <a:pt x="39" y="175"/>
                      <a:pt x="87" y="175"/>
                    </a:cubicBezTo>
                    <a:cubicBezTo>
                      <a:pt x="136" y="175"/>
                      <a:pt x="175" y="136"/>
                      <a:pt x="175" y="88"/>
                    </a:cubicBezTo>
                    <a:close/>
                    <a:moveTo>
                      <a:pt x="44" y="88"/>
                    </a:moveTo>
                    <a:lnTo>
                      <a:pt x="44" y="88"/>
                    </a:lnTo>
                    <a:cubicBezTo>
                      <a:pt x="44" y="63"/>
                      <a:pt x="63" y="44"/>
                      <a:pt x="87" y="44"/>
                    </a:cubicBezTo>
                    <a:cubicBezTo>
                      <a:pt x="111" y="44"/>
                      <a:pt x="131" y="63"/>
                      <a:pt x="131" y="88"/>
                    </a:cubicBezTo>
                    <a:cubicBezTo>
                      <a:pt x="131" y="112"/>
                      <a:pt x="111" y="131"/>
                      <a:pt x="87" y="131"/>
                    </a:cubicBezTo>
                    <a:cubicBezTo>
                      <a:pt x="63" y="131"/>
                      <a:pt x="44" y="112"/>
                      <a:pt x="44" y="88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54" name="Freeform 270"/>
              <p:cNvSpPr>
                <a:spLocks noChangeArrowheads="1"/>
              </p:cNvSpPr>
              <p:nvPr/>
            </p:nvSpPr>
            <p:spPr bwMode="auto">
              <a:xfrm>
                <a:off x="2808289" y="2674115"/>
                <a:ext cx="109538" cy="46038"/>
              </a:xfrm>
              <a:custGeom>
                <a:avLst/>
                <a:gdLst>
                  <a:gd name="T0" fmla="*/ 0 w 308"/>
                  <a:gd name="T1" fmla="*/ 1 h 132"/>
                  <a:gd name="T2" fmla="*/ 3 w 308"/>
                  <a:gd name="T3" fmla="*/ 1 h 132"/>
                  <a:gd name="T4" fmla="*/ 3 w 308"/>
                  <a:gd name="T5" fmla="*/ 0 h 132"/>
                  <a:gd name="T6" fmla="*/ 0 w 308"/>
                  <a:gd name="T7" fmla="*/ 0 h 132"/>
                  <a:gd name="T8" fmla="*/ 0 w 308"/>
                  <a:gd name="T9" fmla="*/ 1 h 132"/>
                  <a:gd name="T10" fmla="*/ 3 w 308"/>
                  <a:gd name="T11" fmla="*/ 1 h 132"/>
                  <a:gd name="T12" fmla="*/ 2 w 308"/>
                  <a:gd name="T13" fmla="*/ 1 h 132"/>
                  <a:gd name="T14" fmla="*/ 2 w 308"/>
                  <a:gd name="T15" fmla="*/ 0 h 132"/>
                  <a:gd name="T16" fmla="*/ 3 w 308"/>
                  <a:gd name="T17" fmla="*/ 0 h 132"/>
                  <a:gd name="T18" fmla="*/ 3 w 308"/>
                  <a:gd name="T19" fmla="*/ 1 h 132"/>
                  <a:gd name="T20" fmla="*/ 0 w 308"/>
                  <a:gd name="T21" fmla="*/ 0 h 132"/>
                  <a:gd name="T22" fmla="*/ 1 w 308"/>
                  <a:gd name="T23" fmla="*/ 0 h 132"/>
                  <a:gd name="T24" fmla="*/ 1 w 308"/>
                  <a:gd name="T25" fmla="*/ 1 h 132"/>
                  <a:gd name="T26" fmla="*/ 0 w 308"/>
                  <a:gd name="T27" fmla="*/ 1 h 132"/>
                  <a:gd name="T28" fmla="*/ 0 w 308"/>
                  <a:gd name="T29" fmla="*/ 0 h 1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08" h="132">
                    <a:moveTo>
                      <a:pt x="0" y="131"/>
                    </a:moveTo>
                    <a:cubicBezTo>
                      <a:pt x="102" y="131"/>
                      <a:pt x="205" y="131"/>
                      <a:pt x="307" y="131"/>
                    </a:cubicBezTo>
                    <a:cubicBezTo>
                      <a:pt x="307" y="87"/>
                      <a:pt x="307" y="44"/>
                      <a:pt x="307" y="0"/>
                    </a:cubicBezTo>
                    <a:cubicBezTo>
                      <a:pt x="205" y="0"/>
                      <a:pt x="102" y="0"/>
                      <a:pt x="0" y="0"/>
                    </a:cubicBezTo>
                    <a:cubicBezTo>
                      <a:pt x="0" y="44"/>
                      <a:pt x="0" y="87"/>
                      <a:pt x="0" y="131"/>
                    </a:cubicBezTo>
                    <a:close/>
                    <a:moveTo>
                      <a:pt x="263" y="88"/>
                    </a:moveTo>
                    <a:cubicBezTo>
                      <a:pt x="234" y="88"/>
                      <a:pt x="204" y="88"/>
                      <a:pt x="175" y="88"/>
                    </a:cubicBezTo>
                    <a:cubicBezTo>
                      <a:pt x="175" y="73"/>
                      <a:pt x="175" y="59"/>
                      <a:pt x="175" y="44"/>
                    </a:cubicBezTo>
                    <a:cubicBezTo>
                      <a:pt x="204" y="44"/>
                      <a:pt x="234" y="44"/>
                      <a:pt x="263" y="44"/>
                    </a:cubicBezTo>
                    <a:cubicBezTo>
                      <a:pt x="263" y="59"/>
                      <a:pt x="263" y="73"/>
                      <a:pt x="263" y="88"/>
                    </a:cubicBezTo>
                    <a:close/>
                    <a:moveTo>
                      <a:pt x="44" y="44"/>
                    </a:moveTo>
                    <a:cubicBezTo>
                      <a:pt x="73" y="44"/>
                      <a:pt x="102" y="44"/>
                      <a:pt x="131" y="44"/>
                    </a:cubicBezTo>
                    <a:cubicBezTo>
                      <a:pt x="131" y="59"/>
                      <a:pt x="131" y="73"/>
                      <a:pt x="131" y="88"/>
                    </a:cubicBezTo>
                    <a:cubicBezTo>
                      <a:pt x="102" y="88"/>
                      <a:pt x="73" y="88"/>
                      <a:pt x="44" y="88"/>
                    </a:cubicBezTo>
                    <a:cubicBezTo>
                      <a:pt x="44" y="73"/>
                      <a:pt x="44" y="59"/>
                      <a:pt x="44" y="44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21" name="Группа 20"/>
            <p:cNvGrpSpPr/>
            <p:nvPr/>
          </p:nvGrpSpPr>
          <p:grpSpPr>
            <a:xfrm>
              <a:off x="770682" y="5667028"/>
              <a:ext cx="488950" cy="409575"/>
              <a:chOff x="5700713" y="5935663"/>
              <a:chExt cx="488950" cy="409575"/>
            </a:xfrm>
          </p:grpSpPr>
          <p:sp>
            <p:nvSpPr>
              <p:cNvPr id="22" name="Freeform 271"/>
              <p:cNvSpPr>
                <a:spLocks noChangeArrowheads="1"/>
              </p:cNvSpPr>
              <p:nvPr/>
            </p:nvSpPr>
            <p:spPr bwMode="auto">
              <a:xfrm>
                <a:off x="6064250" y="5935663"/>
                <a:ext cx="125413" cy="330200"/>
              </a:xfrm>
              <a:custGeom>
                <a:avLst/>
                <a:gdLst>
                  <a:gd name="T0" fmla="*/ 3 w 351"/>
                  <a:gd name="T1" fmla="*/ 11 h 920"/>
                  <a:gd name="T2" fmla="*/ 3 w 351"/>
                  <a:gd name="T3" fmla="*/ 11 h 920"/>
                  <a:gd name="T4" fmla="*/ 0 w 351"/>
                  <a:gd name="T5" fmla="*/ 11 h 920"/>
                  <a:gd name="T6" fmla="*/ 0 w 351"/>
                  <a:gd name="T7" fmla="*/ 10 h 920"/>
                  <a:gd name="T8" fmla="*/ 3 w 351"/>
                  <a:gd name="T9" fmla="*/ 10 h 920"/>
                  <a:gd name="T10" fmla="*/ 4 w 351"/>
                  <a:gd name="T11" fmla="*/ 9 h 920"/>
                  <a:gd name="T12" fmla="*/ 4 w 351"/>
                  <a:gd name="T13" fmla="*/ 1 h 920"/>
                  <a:gd name="T14" fmla="*/ 3 w 351"/>
                  <a:gd name="T15" fmla="*/ 0 h 920"/>
                  <a:gd name="T16" fmla="*/ 0 w 351"/>
                  <a:gd name="T17" fmla="*/ 0 h 920"/>
                  <a:gd name="T18" fmla="*/ 0 w 351"/>
                  <a:gd name="T19" fmla="*/ 0 h 920"/>
                  <a:gd name="T20" fmla="*/ 3 w 351"/>
                  <a:gd name="T21" fmla="*/ 0 h 920"/>
                  <a:gd name="T22" fmla="*/ 4 w 351"/>
                  <a:gd name="T23" fmla="*/ 1 h 920"/>
                  <a:gd name="T24" fmla="*/ 4 w 351"/>
                  <a:gd name="T25" fmla="*/ 9 h 920"/>
                  <a:gd name="T26" fmla="*/ 3 w 351"/>
                  <a:gd name="T27" fmla="*/ 11 h 92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51" h="920">
                    <a:moveTo>
                      <a:pt x="241" y="919"/>
                    </a:moveTo>
                    <a:lnTo>
                      <a:pt x="241" y="919"/>
                    </a:lnTo>
                    <a:cubicBezTo>
                      <a:pt x="0" y="919"/>
                      <a:pt x="81" y="919"/>
                      <a:pt x="0" y="919"/>
                    </a:cubicBezTo>
                    <a:cubicBezTo>
                      <a:pt x="0" y="876"/>
                      <a:pt x="0" y="890"/>
                      <a:pt x="0" y="876"/>
                    </a:cubicBezTo>
                    <a:cubicBezTo>
                      <a:pt x="241" y="876"/>
                      <a:pt x="161" y="876"/>
                      <a:pt x="241" y="876"/>
                    </a:cubicBezTo>
                    <a:cubicBezTo>
                      <a:pt x="277" y="876"/>
                      <a:pt x="306" y="846"/>
                      <a:pt x="306" y="809"/>
                    </a:cubicBezTo>
                    <a:cubicBezTo>
                      <a:pt x="306" y="109"/>
                      <a:pt x="306" y="342"/>
                      <a:pt x="306" y="109"/>
                    </a:cubicBezTo>
                    <a:cubicBezTo>
                      <a:pt x="306" y="73"/>
                      <a:pt x="277" y="44"/>
                      <a:pt x="241" y="44"/>
                    </a:cubicBezTo>
                    <a:cubicBezTo>
                      <a:pt x="0" y="44"/>
                      <a:pt x="81" y="44"/>
                      <a:pt x="0" y="44"/>
                    </a:cubicBezTo>
                    <a:cubicBezTo>
                      <a:pt x="0" y="0"/>
                      <a:pt x="0" y="15"/>
                      <a:pt x="0" y="0"/>
                    </a:cubicBezTo>
                    <a:cubicBezTo>
                      <a:pt x="241" y="0"/>
                      <a:pt x="161" y="0"/>
                      <a:pt x="241" y="0"/>
                    </a:cubicBezTo>
                    <a:cubicBezTo>
                      <a:pt x="301" y="0"/>
                      <a:pt x="350" y="49"/>
                      <a:pt x="350" y="109"/>
                    </a:cubicBezTo>
                    <a:cubicBezTo>
                      <a:pt x="350" y="809"/>
                      <a:pt x="350" y="576"/>
                      <a:pt x="350" y="809"/>
                    </a:cubicBezTo>
                    <a:cubicBezTo>
                      <a:pt x="350" y="870"/>
                      <a:pt x="301" y="919"/>
                      <a:pt x="241" y="919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3" name="Freeform 272"/>
              <p:cNvSpPr>
                <a:spLocks noChangeArrowheads="1"/>
              </p:cNvSpPr>
              <p:nvPr/>
            </p:nvSpPr>
            <p:spPr bwMode="auto">
              <a:xfrm>
                <a:off x="5700713" y="5935663"/>
                <a:ext cx="133350" cy="330200"/>
              </a:xfrm>
              <a:custGeom>
                <a:avLst/>
                <a:gdLst>
                  <a:gd name="T0" fmla="*/ 4 w 373"/>
                  <a:gd name="T1" fmla="*/ 11 h 920"/>
                  <a:gd name="T2" fmla="*/ 4 w 373"/>
                  <a:gd name="T3" fmla="*/ 11 h 920"/>
                  <a:gd name="T4" fmla="*/ 1 w 373"/>
                  <a:gd name="T5" fmla="*/ 11 h 920"/>
                  <a:gd name="T6" fmla="*/ 0 w 373"/>
                  <a:gd name="T7" fmla="*/ 9 h 920"/>
                  <a:gd name="T8" fmla="*/ 0 w 373"/>
                  <a:gd name="T9" fmla="*/ 1 h 920"/>
                  <a:gd name="T10" fmla="*/ 1 w 373"/>
                  <a:gd name="T11" fmla="*/ 0 h 920"/>
                  <a:gd name="T12" fmla="*/ 4 w 373"/>
                  <a:gd name="T13" fmla="*/ 0 h 920"/>
                  <a:gd name="T14" fmla="*/ 4 w 373"/>
                  <a:gd name="T15" fmla="*/ 0 h 920"/>
                  <a:gd name="T16" fmla="*/ 1 w 373"/>
                  <a:gd name="T17" fmla="*/ 0 h 920"/>
                  <a:gd name="T18" fmla="*/ 0 w 373"/>
                  <a:gd name="T19" fmla="*/ 1 h 920"/>
                  <a:gd name="T20" fmla="*/ 0 w 373"/>
                  <a:gd name="T21" fmla="*/ 9 h 920"/>
                  <a:gd name="T22" fmla="*/ 1 w 373"/>
                  <a:gd name="T23" fmla="*/ 10 h 920"/>
                  <a:gd name="T24" fmla="*/ 4 w 373"/>
                  <a:gd name="T25" fmla="*/ 10 h 920"/>
                  <a:gd name="T26" fmla="*/ 4 w 373"/>
                  <a:gd name="T27" fmla="*/ 11 h 92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73" h="920">
                    <a:moveTo>
                      <a:pt x="372" y="919"/>
                    </a:moveTo>
                    <a:lnTo>
                      <a:pt x="372" y="919"/>
                    </a:lnTo>
                    <a:cubicBezTo>
                      <a:pt x="110" y="919"/>
                      <a:pt x="198" y="919"/>
                      <a:pt x="110" y="919"/>
                    </a:cubicBezTo>
                    <a:cubicBezTo>
                      <a:pt x="49" y="919"/>
                      <a:pt x="0" y="870"/>
                      <a:pt x="0" y="809"/>
                    </a:cubicBezTo>
                    <a:cubicBezTo>
                      <a:pt x="0" y="109"/>
                      <a:pt x="0" y="342"/>
                      <a:pt x="0" y="109"/>
                    </a:cubicBezTo>
                    <a:cubicBezTo>
                      <a:pt x="0" y="49"/>
                      <a:pt x="49" y="0"/>
                      <a:pt x="110" y="0"/>
                    </a:cubicBezTo>
                    <a:cubicBezTo>
                      <a:pt x="350" y="0"/>
                      <a:pt x="270" y="0"/>
                      <a:pt x="350" y="0"/>
                    </a:cubicBezTo>
                    <a:cubicBezTo>
                      <a:pt x="350" y="44"/>
                      <a:pt x="350" y="29"/>
                      <a:pt x="350" y="44"/>
                    </a:cubicBezTo>
                    <a:cubicBezTo>
                      <a:pt x="110" y="44"/>
                      <a:pt x="190" y="44"/>
                      <a:pt x="110" y="44"/>
                    </a:cubicBezTo>
                    <a:cubicBezTo>
                      <a:pt x="73" y="44"/>
                      <a:pt x="44" y="73"/>
                      <a:pt x="44" y="109"/>
                    </a:cubicBezTo>
                    <a:cubicBezTo>
                      <a:pt x="44" y="809"/>
                      <a:pt x="44" y="576"/>
                      <a:pt x="44" y="809"/>
                    </a:cubicBezTo>
                    <a:cubicBezTo>
                      <a:pt x="44" y="846"/>
                      <a:pt x="73" y="876"/>
                      <a:pt x="110" y="876"/>
                    </a:cubicBezTo>
                    <a:cubicBezTo>
                      <a:pt x="372" y="876"/>
                      <a:pt x="285" y="876"/>
                      <a:pt x="372" y="876"/>
                    </a:cubicBezTo>
                    <a:cubicBezTo>
                      <a:pt x="372" y="890"/>
                      <a:pt x="372" y="905"/>
                      <a:pt x="372" y="919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4" name="Freeform 273"/>
              <p:cNvSpPr>
                <a:spLocks noChangeArrowheads="1"/>
              </p:cNvSpPr>
              <p:nvPr/>
            </p:nvSpPr>
            <p:spPr bwMode="auto">
              <a:xfrm>
                <a:off x="6110288" y="5943600"/>
                <a:ext cx="14288" cy="314325"/>
              </a:xfrm>
              <a:custGeom>
                <a:avLst/>
                <a:gdLst>
                  <a:gd name="T0" fmla="*/ 0 w 45"/>
                  <a:gd name="T1" fmla="*/ 10 h 876"/>
                  <a:gd name="T2" fmla="*/ 0 w 45"/>
                  <a:gd name="T3" fmla="*/ 10 h 876"/>
                  <a:gd name="T4" fmla="*/ 0 w 45"/>
                  <a:gd name="T5" fmla="*/ 0 h 876"/>
                  <a:gd name="T6" fmla="*/ 0 w 45"/>
                  <a:gd name="T7" fmla="*/ 0 h 876"/>
                  <a:gd name="T8" fmla="*/ 0 w 45"/>
                  <a:gd name="T9" fmla="*/ 10 h 8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876">
                    <a:moveTo>
                      <a:pt x="44" y="875"/>
                    </a:moveTo>
                    <a:cubicBezTo>
                      <a:pt x="30" y="875"/>
                      <a:pt x="15" y="875"/>
                      <a:pt x="0" y="875"/>
                    </a:cubicBezTo>
                    <a:cubicBezTo>
                      <a:pt x="0" y="583"/>
                      <a:pt x="0" y="292"/>
                      <a:pt x="0" y="0"/>
                    </a:cubicBezTo>
                    <a:cubicBezTo>
                      <a:pt x="15" y="0"/>
                      <a:pt x="30" y="0"/>
                      <a:pt x="44" y="0"/>
                    </a:cubicBezTo>
                    <a:cubicBezTo>
                      <a:pt x="44" y="292"/>
                      <a:pt x="44" y="583"/>
                      <a:pt x="44" y="875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5" name="Freeform 275"/>
              <p:cNvSpPr>
                <a:spLocks noChangeArrowheads="1"/>
              </p:cNvSpPr>
              <p:nvPr/>
            </p:nvSpPr>
            <p:spPr bwMode="auto">
              <a:xfrm>
                <a:off x="5748338" y="5943600"/>
                <a:ext cx="14288" cy="314325"/>
              </a:xfrm>
              <a:custGeom>
                <a:avLst/>
                <a:gdLst>
                  <a:gd name="T0" fmla="*/ 0 w 45"/>
                  <a:gd name="T1" fmla="*/ 10 h 876"/>
                  <a:gd name="T2" fmla="*/ 0 w 45"/>
                  <a:gd name="T3" fmla="*/ 10 h 876"/>
                  <a:gd name="T4" fmla="*/ 0 w 45"/>
                  <a:gd name="T5" fmla="*/ 0 h 876"/>
                  <a:gd name="T6" fmla="*/ 0 w 45"/>
                  <a:gd name="T7" fmla="*/ 0 h 876"/>
                  <a:gd name="T8" fmla="*/ 0 w 45"/>
                  <a:gd name="T9" fmla="*/ 10 h 8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876">
                    <a:moveTo>
                      <a:pt x="44" y="875"/>
                    </a:moveTo>
                    <a:cubicBezTo>
                      <a:pt x="30" y="875"/>
                      <a:pt x="15" y="875"/>
                      <a:pt x="0" y="875"/>
                    </a:cubicBezTo>
                    <a:cubicBezTo>
                      <a:pt x="0" y="583"/>
                      <a:pt x="0" y="292"/>
                      <a:pt x="0" y="0"/>
                    </a:cubicBezTo>
                    <a:cubicBezTo>
                      <a:pt x="15" y="0"/>
                      <a:pt x="30" y="0"/>
                      <a:pt x="44" y="0"/>
                    </a:cubicBezTo>
                    <a:cubicBezTo>
                      <a:pt x="44" y="292"/>
                      <a:pt x="44" y="583"/>
                      <a:pt x="44" y="875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6" name="Freeform 276"/>
              <p:cNvSpPr>
                <a:spLocks noChangeArrowheads="1"/>
              </p:cNvSpPr>
              <p:nvPr/>
            </p:nvSpPr>
            <p:spPr bwMode="auto">
              <a:xfrm>
                <a:off x="6173788" y="6329363"/>
                <a:ext cx="14288" cy="14288"/>
              </a:xfrm>
              <a:custGeom>
                <a:avLst/>
                <a:gdLst>
                  <a:gd name="T0" fmla="*/ 0 w 45"/>
                  <a:gd name="T1" fmla="*/ 0 h 45"/>
                  <a:gd name="T2" fmla="*/ 0 w 45"/>
                  <a:gd name="T3" fmla="*/ 0 h 45"/>
                  <a:gd name="T4" fmla="*/ 0 w 45"/>
                  <a:gd name="T5" fmla="*/ 0 h 45"/>
                  <a:gd name="T6" fmla="*/ 0 w 45"/>
                  <a:gd name="T7" fmla="*/ 0 h 45"/>
                  <a:gd name="T8" fmla="*/ 0 w 45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45">
                    <a:moveTo>
                      <a:pt x="44" y="44"/>
                    </a:moveTo>
                    <a:cubicBezTo>
                      <a:pt x="30" y="44"/>
                      <a:pt x="15" y="44"/>
                      <a:pt x="0" y="44"/>
                    </a:cubicBezTo>
                    <a:cubicBezTo>
                      <a:pt x="0" y="29"/>
                      <a:pt x="0" y="15"/>
                      <a:pt x="0" y="0"/>
                    </a:cubicBezTo>
                    <a:cubicBezTo>
                      <a:pt x="15" y="0"/>
                      <a:pt x="30" y="0"/>
                      <a:pt x="44" y="0"/>
                    </a:cubicBezTo>
                    <a:cubicBezTo>
                      <a:pt x="44" y="15"/>
                      <a:pt x="44" y="29"/>
                      <a:pt x="44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7" name="Freeform 277"/>
              <p:cNvSpPr>
                <a:spLocks noChangeArrowheads="1"/>
              </p:cNvSpPr>
              <p:nvPr/>
            </p:nvSpPr>
            <p:spPr bwMode="auto">
              <a:xfrm>
                <a:off x="6142038" y="6329363"/>
                <a:ext cx="14288" cy="14288"/>
              </a:xfrm>
              <a:custGeom>
                <a:avLst/>
                <a:gdLst>
                  <a:gd name="T0" fmla="*/ 0 w 44"/>
                  <a:gd name="T1" fmla="*/ 0 h 45"/>
                  <a:gd name="T2" fmla="*/ 0 w 44"/>
                  <a:gd name="T3" fmla="*/ 0 h 45"/>
                  <a:gd name="T4" fmla="*/ 0 w 44"/>
                  <a:gd name="T5" fmla="*/ 0 h 45"/>
                  <a:gd name="T6" fmla="*/ 0 w 44"/>
                  <a:gd name="T7" fmla="*/ 0 h 45"/>
                  <a:gd name="T8" fmla="*/ 0 w 44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4" h="45">
                    <a:moveTo>
                      <a:pt x="43" y="44"/>
                    </a:moveTo>
                    <a:cubicBezTo>
                      <a:pt x="29" y="44"/>
                      <a:pt x="15" y="44"/>
                      <a:pt x="0" y="44"/>
                    </a:cubicBezTo>
                    <a:cubicBezTo>
                      <a:pt x="0" y="29"/>
                      <a:pt x="0" y="15"/>
                      <a:pt x="0" y="0"/>
                    </a:cubicBezTo>
                    <a:cubicBezTo>
                      <a:pt x="15" y="0"/>
                      <a:pt x="29" y="0"/>
                      <a:pt x="43" y="0"/>
                    </a:cubicBezTo>
                    <a:cubicBezTo>
                      <a:pt x="43" y="15"/>
                      <a:pt x="43" y="29"/>
                      <a:pt x="43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8" name="Freeform 278"/>
              <p:cNvSpPr>
                <a:spLocks noChangeArrowheads="1"/>
              </p:cNvSpPr>
              <p:nvPr/>
            </p:nvSpPr>
            <p:spPr bwMode="auto">
              <a:xfrm>
                <a:off x="6110288" y="6329363"/>
                <a:ext cx="14288" cy="14288"/>
              </a:xfrm>
              <a:custGeom>
                <a:avLst/>
                <a:gdLst>
                  <a:gd name="T0" fmla="*/ 0 w 45"/>
                  <a:gd name="T1" fmla="*/ 0 h 45"/>
                  <a:gd name="T2" fmla="*/ 0 w 45"/>
                  <a:gd name="T3" fmla="*/ 0 h 45"/>
                  <a:gd name="T4" fmla="*/ 0 w 45"/>
                  <a:gd name="T5" fmla="*/ 0 h 45"/>
                  <a:gd name="T6" fmla="*/ 0 w 45"/>
                  <a:gd name="T7" fmla="*/ 0 h 45"/>
                  <a:gd name="T8" fmla="*/ 0 w 45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45">
                    <a:moveTo>
                      <a:pt x="44" y="44"/>
                    </a:moveTo>
                    <a:cubicBezTo>
                      <a:pt x="30" y="44"/>
                      <a:pt x="15" y="44"/>
                      <a:pt x="0" y="44"/>
                    </a:cubicBezTo>
                    <a:cubicBezTo>
                      <a:pt x="0" y="29"/>
                      <a:pt x="0" y="15"/>
                      <a:pt x="0" y="0"/>
                    </a:cubicBezTo>
                    <a:cubicBezTo>
                      <a:pt x="15" y="0"/>
                      <a:pt x="30" y="0"/>
                      <a:pt x="44" y="0"/>
                    </a:cubicBezTo>
                    <a:cubicBezTo>
                      <a:pt x="44" y="15"/>
                      <a:pt x="44" y="29"/>
                      <a:pt x="44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9" name="Freeform 279"/>
              <p:cNvSpPr>
                <a:spLocks noChangeArrowheads="1"/>
              </p:cNvSpPr>
              <p:nvPr/>
            </p:nvSpPr>
            <p:spPr bwMode="auto">
              <a:xfrm>
                <a:off x="5992813" y="6235700"/>
                <a:ext cx="101600" cy="109538"/>
              </a:xfrm>
              <a:custGeom>
                <a:avLst/>
                <a:gdLst>
                  <a:gd name="T0" fmla="*/ 3 w 285"/>
                  <a:gd name="T1" fmla="*/ 3 h 308"/>
                  <a:gd name="T2" fmla="*/ 0 w 285"/>
                  <a:gd name="T3" fmla="*/ 3 h 308"/>
                  <a:gd name="T4" fmla="*/ 0 w 285"/>
                  <a:gd name="T5" fmla="*/ 0 h 308"/>
                  <a:gd name="T6" fmla="*/ 0 w 285"/>
                  <a:gd name="T7" fmla="*/ 0 h 308"/>
                  <a:gd name="T8" fmla="*/ 0 w 285"/>
                  <a:gd name="T9" fmla="*/ 3 h 308"/>
                  <a:gd name="T10" fmla="*/ 3 w 285"/>
                  <a:gd name="T11" fmla="*/ 3 h 308"/>
                  <a:gd name="T12" fmla="*/ 3 w 285"/>
                  <a:gd name="T13" fmla="*/ 3 h 3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85" h="308">
                    <a:moveTo>
                      <a:pt x="284" y="307"/>
                    </a:moveTo>
                    <a:cubicBezTo>
                      <a:pt x="190" y="307"/>
                      <a:pt x="95" y="307"/>
                      <a:pt x="0" y="307"/>
                    </a:cubicBezTo>
                    <a:cubicBezTo>
                      <a:pt x="0" y="205"/>
                      <a:pt x="0" y="102"/>
                      <a:pt x="0" y="0"/>
                    </a:cubicBezTo>
                    <a:cubicBezTo>
                      <a:pt x="15" y="0"/>
                      <a:pt x="30" y="0"/>
                      <a:pt x="44" y="0"/>
                    </a:cubicBezTo>
                    <a:cubicBezTo>
                      <a:pt x="44" y="88"/>
                      <a:pt x="44" y="175"/>
                      <a:pt x="44" y="263"/>
                    </a:cubicBezTo>
                    <a:cubicBezTo>
                      <a:pt x="124" y="263"/>
                      <a:pt x="204" y="263"/>
                      <a:pt x="284" y="263"/>
                    </a:cubicBezTo>
                    <a:cubicBezTo>
                      <a:pt x="284" y="278"/>
                      <a:pt x="284" y="292"/>
                      <a:pt x="284" y="307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0" name="Freeform 280"/>
              <p:cNvSpPr>
                <a:spLocks noChangeArrowheads="1"/>
              </p:cNvSpPr>
              <p:nvPr/>
            </p:nvSpPr>
            <p:spPr bwMode="auto">
              <a:xfrm>
                <a:off x="5956300" y="6226175"/>
                <a:ext cx="85725" cy="38100"/>
              </a:xfrm>
              <a:custGeom>
                <a:avLst/>
                <a:gdLst>
                  <a:gd name="T0" fmla="*/ 2 w 243"/>
                  <a:gd name="T1" fmla="*/ 1 h 111"/>
                  <a:gd name="T2" fmla="*/ 1 w 243"/>
                  <a:gd name="T3" fmla="*/ 0 h 111"/>
                  <a:gd name="T4" fmla="*/ 0 w 243"/>
                  <a:gd name="T5" fmla="*/ 1 h 111"/>
                  <a:gd name="T6" fmla="*/ 0 w 243"/>
                  <a:gd name="T7" fmla="*/ 1 h 111"/>
                  <a:gd name="T8" fmla="*/ 1 w 243"/>
                  <a:gd name="T9" fmla="*/ 0 h 111"/>
                  <a:gd name="T10" fmla="*/ 3 w 243"/>
                  <a:gd name="T11" fmla="*/ 1 h 111"/>
                  <a:gd name="T12" fmla="*/ 2 w 243"/>
                  <a:gd name="T13" fmla="*/ 1 h 1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43" h="111">
                    <a:moveTo>
                      <a:pt x="219" y="110"/>
                    </a:moveTo>
                    <a:cubicBezTo>
                      <a:pt x="187" y="90"/>
                      <a:pt x="154" y="71"/>
                      <a:pt x="121" y="51"/>
                    </a:cubicBezTo>
                    <a:cubicBezTo>
                      <a:pt x="89" y="71"/>
                      <a:pt x="56" y="90"/>
                      <a:pt x="23" y="110"/>
                    </a:cubicBezTo>
                    <a:cubicBezTo>
                      <a:pt x="16" y="97"/>
                      <a:pt x="8" y="85"/>
                      <a:pt x="0" y="72"/>
                    </a:cubicBezTo>
                    <a:cubicBezTo>
                      <a:pt x="41" y="48"/>
                      <a:pt x="81" y="24"/>
                      <a:pt x="121" y="0"/>
                    </a:cubicBezTo>
                    <a:cubicBezTo>
                      <a:pt x="162" y="24"/>
                      <a:pt x="202" y="48"/>
                      <a:pt x="242" y="72"/>
                    </a:cubicBezTo>
                    <a:cubicBezTo>
                      <a:pt x="235" y="85"/>
                      <a:pt x="227" y="97"/>
                      <a:pt x="219" y="110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1" name="Freeform 281"/>
              <p:cNvSpPr>
                <a:spLocks noChangeArrowheads="1"/>
              </p:cNvSpPr>
              <p:nvPr/>
            </p:nvSpPr>
            <p:spPr bwMode="auto">
              <a:xfrm>
                <a:off x="5700713" y="6329363"/>
                <a:ext cx="14288" cy="14288"/>
              </a:xfrm>
              <a:custGeom>
                <a:avLst/>
                <a:gdLst>
                  <a:gd name="T0" fmla="*/ 0 w 45"/>
                  <a:gd name="T1" fmla="*/ 0 h 45"/>
                  <a:gd name="T2" fmla="*/ 0 w 45"/>
                  <a:gd name="T3" fmla="*/ 0 h 45"/>
                  <a:gd name="T4" fmla="*/ 0 w 45"/>
                  <a:gd name="T5" fmla="*/ 0 h 45"/>
                  <a:gd name="T6" fmla="*/ 0 w 45"/>
                  <a:gd name="T7" fmla="*/ 0 h 45"/>
                  <a:gd name="T8" fmla="*/ 0 w 45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45">
                    <a:moveTo>
                      <a:pt x="44" y="44"/>
                    </a:moveTo>
                    <a:cubicBezTo>
                      <a:pt x="30" y="44"/>
                      <a:pt x="15" y="44"/>
                      <a:pt x="0" y="44"/>
                    </a:cubicBezTo>
                    <a:cubicBezTo>
                      <a:pt x="0" y="29"/>
                      <a:pt x="0" y="15"/>
                      <a:pt x="0" y="0"/>
                    </a:cubicBezTo>
                    <a:cubicBezTo>
                      <a:pt x="15" y="0"/>
                      <a:pt x="30" y="0"/>
                      <a:pt x="44" y="0"/>
                    </a:cubicBezTo>
                    <a:cubicBezTo>
                      <a:pt x="44" y="15"/>
                      <a:pt x="44" y="29"/>
                      <a:pt x="44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2" name="Freeform 282"/>
              <p:cNvSpPr>
                <a:spLocks noChangeArrowheads="1"/>
              </p:cNvSpPr>
              <p:nvPr/>
            </p:nvSpPr>
            <p:spPr bwMode="auto">
              <a:xfrm>
                <a:off x="5732463" y="6329363"/>
                <a:ext cx="14288" cy="14288"/>
              </a:xfrm>
              <a:custGeom>
                <a:avLst/>
                <a:gdLst>
                  <a:gd name="T0" fmla="*/ 0 w 44"/>
                  <a:gd name="T1" fmla="*/ 0 h 45"/>
                  <a:gd name="T2" fmla="*/ 0 w 44"/>
                  <a:gd name="T3" fmla="*/ 0 h 45"/>
                  <a:gd name="T4" fmla="*/ 0 w 44"/>
                  <a:gd name="T5" fmla="*/ 0 h 45"/>
                  <a:gd name="T6" fmla="*/ 0 w 44"/>
                  <a:gd name="T7" fmla="*/ 0 h 45"/>
                  <a:gd name="T8" fmla="*/ 0 w 44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4" h="45">
                    <a:moveTo>
                      <a:pt x="43" y="44"/>
                    </a:moveTo>
                    <a:cubicBezTo>
                      <a:pt x="29" y="44"/>
                      <a:pt x="15" y="44"/>
                      <a:pt x="0" y="44"/>
                    </a:cubicBezTo>
                    <a:cubicBezTo>
                      <a:pt x="0" y="29"/>
                      <a:pt x="0" y="15"/>
                      <a:pt x="0" y="0"/>
                    </a:cubicBezTo>
                    <a:cubicBezTo>
                      <a:pt x="15" y="0"/>
                      <a:pt x="29" y="0"/>
                      <a:pt x="43" y="0"/>
                    </a:cubicBezTo>
                    <a:cubicBezTo>
                      <a:pt x="43" y="15"/>
                      <a:pt x="43" y="29"/>
                      <a:pt x="43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3" name="Freeform 283"/>
              <p:cNvSpPr>
                <a:spLocks noChangeArrowheads="1"/>
              </p:cNvSpPr>
              <p:nvPr/>
            </p:nvSpPr>
            <p:spPr bwMode="auto">
              <a:xfrm>
                <a:off x="5764213" y="6329363"/>
                <a:ext cx="14288" cy="14288"/>
              </a:xfrm>
              <a:custGeom>
                <a:avLst/>
                <a:gdLst>
                  <a:gd name="T0" fmla="*/ 0 w 45"/>
                  <a:gd name="T1" fmla="*/ 0 h 45"/>
                  <a:gd name="T2" fmla="*/ 0 w 45"/>
                  <a:gd name="T3" fmla="*/ 0 h 45"/>
                  <a:gd name="T4" fmla="*/ 0 w 45"/>
                  <a:gd name="T5" fmla="*/ 0 h 45"/>
                  <a:gd name="T6" fmla="*/ 0 w 45"/>
                  <a:gd name="T7" fmla="*/ 0 h 45"/>
                  <a:gd name="T8" fmla="*/ 0 w 45"/>
                  <a:gd name="T9" fmla="*/ 0 h 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45">
                    <a:moveTo>
                      <a:pt x="44" y="44"/>
                    </a:moveTo>
                    <a:cubicBezTo>
                      <a:pt x="30" y="44"/>
                      <a:pt x="15" y="44"/>
                      <a:pt x="0" y="44"/>
                    </a:cubicBezTo>
                    <a:cubicBezTo>
                      <a:pt x="0" y="29"/>
                      <a:pt x="0" y="15"/>
                      <a:pt x="0" y="0"/>
                    </a:cubicBezTo>
                    <a:cubicBezTo>
                      <a:pt x="15" y="0"/>
                      <a:pt x="30" y="0"/>
                      <a:pt x="44" y="0"/>
                    </a:cubicBezTo>
                    <a:cubicBezTo>
                      <a:pt x="44" y="15"/>
                      <a:pt x="44" y="29"/>
                      <a:pt x="44" y="44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4" name="Freeform 284"/>
              <p:cNvSpPr>
                <a:spLocks noChangeArrowheads="1"/>
              </p:cNvSpPr>
              <p:nvPr/>
            </p:nvSpPr>
            <p:spPr bwMode="auto">
              <a:xfrm>
                <a:off x="5795963" y="6235700"/>
                <a:ext cx="101600" cy="109538"/>
              </a:xfrm>
              <a:custGeom>
                <a:avLst/>
                <a:gdLst>
                  <a:gd name="T0" fmla="*/ 3 w 285"/>
                  <a:gd name="T1" fmla="*/ 3 h 308"/>
                  <a:gd name="T2" fmla="*/ 0 w 285"/>
                  <a:gd name="T3" fmla="*/ 3 h 308"/>
                  <a:gd name="T4" fmla="*/ 0 w 285"/>
                  <a:gd name="T5" fmla="*/ 3 h 308"/>
                  <a:gd name="T6" fmla="*/ 3 w 285"/>
                  <a:gd name="T7" fmla="*/ 3 h 308"/>
                  <a:gd name="T8" fmla="*/ 3 w 285"/>
                  <a:gd name="T9" fmla="*/ 0 h 308"/>
                  <a:gd name="T10" fmla="*/ 3 w 285"/>
                  <a:gd name="T11" fmla="*/ 0 h 308"/>
                  <a:gd name="T12" fmla="*/ 3 w 285"/>
                  <a:gd name="T13" fmla="*/ 3 h 3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85" h="308">
                    <a:moveTo>
                      <a:pt x="284" y="307"/>
                    </a:moveTo>
                    <a:cubicBezTo>
                      <a:pt x="190" y="307"/>
                      <a:pt x="95" y="307"/>
                      <a:pt x="0" y="307"/>
                    </a:cubicBezTo>
                    <a:cubicBezTo>
                      <a:pt x="0" y="292"/>
                      <a:pt x="0" y="278"/>
                      <a:pt x="0" y="263"/>
                    </a:cubicBezTo>
                    <a:cubicBezTo>
                      <a:pt x="80" y="263"/>
                      <a:pt x="160" y="263"/>
                      <a:pt x="240" y="263"/>
                    </a:cubicBezTo>
                    <a:cubicBezTo>
                      <a:pt x="240" y="175"/>
                      <a:pt x="240" y="88"/>
                      <a:pt x="240" y="0"/>
                    </a:cubicBezTo>
                    <a:cubicBezTo>
                      <a:pt x="255" y="0"/>
                      <a:pt x="270" y="0"/>
                      <a:pt x="284" y="0"/>
                    </a:cubicBezTo>
                    <a:cubicBezTo>
                      <a:pt x="284" y="102"/>
                      <a:pt x="284" y="205"/>
                      <a:pt x="284" y="307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5" name="Freeform 285"/>
              <p:cNvSpPr>
                <a:spLocks noChangeArrowheads="1"/>
              </p:cNvSpPr>
              <p:nvPr/>
            </p:nvSpPr>
            <p:spPr bwMode="auto">
              <a:xfrm>
                <a:off x="5846763" y="6226175"/>
                <a:ext cx="85725" cy="38100"/>
              </a:xfrm>
              <a:custGeom>
                <a:avLst/>
                <a:gdLst>
                  <a:gd name="T0" fmla="*/ 2 w 242"/>
                  <a:gd name="T1" fmla="*/ 1 h 111"/>
                  <a:gd name="T2" fmla="*/ 1 w 242"/>
                  <a:gd name="T3" fmla="*/ 0 h 111"/>
                  <a:gd name="T4" fmla="*/ 0 w 242"/>
                  <a:gd name="T5" fmla="*/ 1 h 111"/>
                  <a:gd name="T6" fmla="*/ 0 w 242"/>
                  <a:gd name="T7" fmla="*/ 1 h 111"/>
                  <a:gd name="T8" fmla="*/ 1 w 242"/>
                  <a:gd name="T9" fmla="*/ 0 h 111"/>
                  <a:gd name="T10" fmla="*/ 3 w 242"/>
                  <a:gd name="T11" fmla="*/ 1 h 111"/>
                  <a:gd name="T12" fmla="*/ 2 w 242"/>
                  <a:gd name="T13" fmla="*/ 1 h 1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42" h="111">
                    <a:moveTo>
                      <a:pt x="219" y="110"/>
                    </a:moveTo>
                    <a:cubicBezTo>
                      <a:pt x="186" y="90"/>
                      <a:pt x="153" y="71"/>
                      <a:pt x="120" y="51"/>
                    </a:cubicBezTo>
                    <a:cubicBezTo>
                      <a:pt x="88" y="71"/>
                      <a:pt x="55" y="90"/>
                      <a:pt x="22" y="110"/>
                    </a:cubicBezTo>
                    <a:cubicBezTo>
                      <a:pt x="15" y="97"/>
                      <a:pt x="8" y="85"/>
                      <a:pt x="0" y="72"/>
                    </a:cubicBezTo>
                    <a:cubicBezTo>
                      <a:pt x="40" y="48"/>
                      <a:pt x="80" y="24"/>
                      <a:pt x="120" y="0"/>
                    </a:cubicBezTo>
                    <a:cubicBezTo>
                      <a:pt x="161" y="24"/>
                      <a:pt x="201" y="48"/>
                      <a:pt x="241" y="72"/>
                    </a:cubicBezTo>
                    <a:cubicBezTo>
                      <a:pt x="234" y="85"/>
                      <a:pt x="227" y="97"/>
                      <a:pt x="219" y="110"/>
                    </a:cubicBezTo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6" name="Freeform 296"/>
              <p:cNvSpPr>
                <a:spLocks noChangeArrowheads="1"/>
              </p:cNvSpPr>
              <p:nvPr/>
            </p:nvSpPr>
            <p:spPr bwMode="auto">
              <a:xfrm>
                <a:off x="5857875" y="6015038"/>
                <a:ext cx="173038" cy="173038"/>
              </a:xfrm>
              <a:custGeom>
                <a:avLst/>
                <a:gdLst>
                  <a:gd name="T0" fmla="*/ 6 w 483"/>
                  <a:gd name="T1" fmla="*/ 3 h 483"/>
                  <a:gd name="T2" fmla="*/ 6 w 483"/>
                  <a:gd name="T3" fmla="*/ 3 h 483"/>
                  <a:gd name="T4" fmla="*/ 3 w 483"/>
                  <a:gd name="T5" fmla="*/ 6 h 483"/>
                  <a:gd name="T6" fmla="*/ 0 w 483"/>
                  <a:gd name="T7" fmla="*/ 3 h 483"/>
                  <a:gd name="T8" fmla="*/ 3 w 483"/>
                  <a:gd name="T9" fmla="*/ 0 h 483"/>
                  <a:gd name="T10" fmla="*/ 6 w 483"/>
                  <a:gd name="T11" fmla="*/ 3 h 4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83" h="483">
                    <a:moveTo>
                      <a:pt x="482" y="241"/>
                    </a:moveTo>
                    <a:lnTo>
                      <a:pt x="482" y="241"/>
                    </a:lnTo>
                    <a:cubicBezTo>
                      <a:pt x="482" y="375"/>
                      <a:pt x="374" y="482"/>
                      <a:pt x="241" y="482"/>
                    </a:cubicBezTo>
                    <a:cubicBezTo>
                      <a:pt x="107" y="482"/>
                      <a:pt x="0" y="375"/>
                      <a:pt x="0" y="241"/>
                    </a:cubicBezTo>
                    <a:cubicBezTo>
                      <a:pt x="0" y="108"/>
                      <a:pt x="107" y="0"/>
                      <a:pt x="241" y="0"/>
                    </a:cubicBezTo>
                    <a:cubicBezTo>
                      <a:pt x="374" y="0"/>
                      <a:pt x="482" y="108"/>
                      <a:pt x="482" y="241"/>
                    </a:cubicBezTo>
                  </a:path>
                </a:pathLst>
              </a:custGeom>
              <a:solidFill>
                <a:srgbClr val="F9BA48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7" name="Freeform 298"/>
              <p:cNvSpPr>
                <a:spLocks noChangeArrowheads="1"/>
              </p:cNvSpPr>
              <p:nvPr/>
            </p:nvSpPr>
            <p:spPr bwMode="auto">
              <a:xfrm>
                <a:off x="5827713" y="5983288"/>
                <a:ext cx="234950" cy="234950"/>
              </a:xfrm>
              <a:custGeom>
                <a:avLst/>
                <a:gdLst>
                  <a:gd name="T0" fmla="*/ 4 w 658"/>
                  <a:gd name="T1" fmla="*/ 0 h 657"/>
                  <a:gd name="T2" fmla="*/ 4 w 658"/>
                  <a:gd name="T3" fmla="*/ 0 h 657"/>
                  <a:gd name="T4" fmla="*/ 0 w 658"/>
                  <a:gd name="T5" fmla="*/ 4 h 657"/>
                  <a:gd name="T6" fmla="*/ 4 w 658"/>
                  <a:gd name="T7" fmla="*/ 7 h 657"/>
                  <a:gd name="T8" fmla="*/ 7 w 658"/>
                  <a:gd name="T9" fmla="*/ 4 h 657"/>
                  <a:gd name="T10" fmla="*/ 4 w 658"/>
                  <a:gd name="T11" fmla="*/ 0 h 657"/>
                  <a:gd name="T12" fmla="*/ 5 w 658"/>
                  <a:gd name="T13" fmla="*/ 7 h 657"/>
                  <a:gd name="T14" fmla="*/ 5 w 658"/>
                  <a:gd name="T15" fmla="*/ 7 h 657"/>
                  <a:gd name="T16" fmla="*/ 5 w 658"/>
                  <a:gd name="T17" fmla="*/ 7 h 657"/>
                  <a:gd name="T18" fmla="*/ 5 w 658"/>
                  <a:gd name="T19" fmla="*/ 5 h 657"/>
                  <a:gd name="T20" fmla="*/ 4 w 658"/>
                  <a:gd name="T21" fmla="*/ 5 h 657"/>
                  <a:gd name="T22" fmla="*/ 4 w 658"/>
                  <a:gd name="T23" fmla="*/ 7 h 657"/>
                  <a:gd name="T24" fmla="*/ 4 w 658"/>
                  <a:gd name="T25" fmla="*/ 7 h 657"/>
                  <a:gd name="T26" fmla="*/ 3 w 658"/>
                  <a:gd name="T27" fmla="*/ 7 h 657"/>
                  <a:gd name="T28" fmla="*/ 3 w 658"/>
                  <a:gd name="T29" fmla="*/ 5 h 657"/>
                  <a:gd name="T30" fmla="*/ 2 w 658"/>
                  <a:gd name="T31" fmla="*/ 5 h 657"/>
                  <a:gd name="T32" fmla="*/ 2 w 658"/>
                  <a:gd name="T33" fmla="*/ 7 h 657"/>
                  <a:gd name="T34" fmla="*/ 2 w 658"/>
                  <a:gd name="T35" fmla="*/ 7 h 657"/>
                  <a:gd name="T36" fmla="*/ 2 w 658"/>
                  <a:gd name="T37" fmla="*/ 5 h 657"/>
                  <a:gd name="T38" fmla="*/ 3 w 658"/>
                  <a:gd name="T39" fmla="*/ 4 h 657"/>
                  <a:gd name="T40" fmla="*/ 4 w 658"/>
                  <a:gd name="T41" fmla="*/ 4 h 657"/>
                  <a:gd name="T42" fmla="*/ 5 w 658"/>
                  <a:gd name="T43" fmla="*/ 5 h 657"/>
                  <a:gd name="T44" fmla="*/ 5 w 658"/>
                  <a:gd name="T45" fmla="*/ 7 h 657"/>
                  <a:gd name="T46" fmla="*/ 3 w 658"/>
                  <a:gd name="T47" fmla="*/ 2 h 657"/>
                  <a:gd name="T48" fmla="*/ 3 w 658"/>
                  <a:gd name="T49" fmla="*/ 2 h 657"/>
                  <a:gd name="T50" fmla="*/ 4 w 658"/>
                  <a:gd name="T51" fmla="*/ 1 h 657"/>
                  <a:gd name="T52" fmla="*/ 5 w 658"/>
                  <a:gd name="T53" fmla="*/ 2 h 657"/>
                  <a:gd name="T54" fmla="*/ 4 w 658"/>
                  <a:gd name="T55" fmla="*/ 3 h 657"/>
                  <a:gd name="T56" fmla="*/ 3 w 658"/>
                  <a:gd name="T57" fmla="*/ 2 h 657"/>
                  <a:gd name="T58" fmla="*/ 6 w 658"/>
                  <a:gd name="T59" fmla="*/ 6 h 657"/>
                  <a:gd name="T60" fmla="*/ 6 w 658"/>
                  <a:gd name="T61" fmla="*/ 6 h 657"/>
                  <a:gd name="T62" fmla="*/ 6 w 658"/>
                  <a:gd name="T63" fmla="*/ 5 h 657"/>
                  <a:gd name="T64" fmla="*/ 4 w 658"/>
                  <a:gd name="T65" fmla="*/ 4 h 657"/>
                  <a:gd name="T66" fmla="*/ 5 w 658"/>
                  <a:gd name="T67" fmla="*/ 2 h 657"/>
                  <a:gd name="T68" fmla="*/ 4 w 658"/>
                  <a:gd name="T69" fmla="*/ 1 h 657"/>
                  <a:gd name="T70" fmla="*/ 2 w 658"/>
                  <a:gd name="T71" fmla="*/ 2 h 657"/>
                  <a:gd name="T72" fmla="*/ 3 w 658"/>
                  <a:gd name="T73" fmla="*/ 4 h 657"/>
                  <a:gd name="T74" fmla="*/ 2 w 658"/>
                  <a:gd name="T75" fmla="*/ 5 h 657"/>
                  <a:gd name="T76" fmla="*/ 2 w 658"/>
                  <a:gd name="T77" fmla="*/ 6 h 657"/>
                  <a:gd name="T78" fmla="*/ 0 w 658"/>
                  <a:gd name="T79" fmla="*/ 4 h 657"/>
                  <a:gd name="T80" fmla="*/ 4 w 658"/>
                  <a:gd name="T81" fmla="*/ 0 h 657"/>
                  <a:gd name="T82" fmla="*/ 7 w 658"/>
                  <a:gd name="T83" fmla="*/ 4 h 657"/>
                  <a:gd name="T84" fmla="*/ 6 w 658"/>
                  <a:gd name="T85" fmla="*/ 6 h 65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658" h="657">
                    <a:moveTo>
                      <a:pt x="329" y="0"/>
                    </a:moveTo>
                    <a:lnTo>
                      <a:pt x="329" y="0"/>
                    </a:lnTo>
                    <a:cubicBezTo>
                      <a:pt x="148" y="0"/>
                      <a:pt x="0" y="147"/>
                      <a:pt x="0" y="328"/>
                    </a:cubicBezTo>
                    <a:cubicBezTo>
                      <a:pt x="0" y="509"/>
                      <a:pt x="148" y="656"/>
                      <a:pt x="329" y="656"/>
                    </a:cubicBezTo>
                    <a:cubicBezTo>
                      <a:pt x="510" y="656"/>
                      <a:pt x="657" y="509"/>
                      <a:pt x="657" y="328"/>
                    </a:cubicBezTo>
                    <a:cubicBezTo>
                      <a:pt x="657" y="147"/>
                      <a:pt x="510" y="0"/>
                      <a:pt x="329" y="0"/>
                    </a:cubicBezTo>
                    <a:close/>
                    <a:moveTo>
                      <a:pt x="482" y="568"/>
                    </a:moveTo>
                    <a:lnTo>
                      <a:pt x="482" y="568"/>
                    </a:lnTo>
                    <a:cubicBezTo>
                      <a:pt x="468" y="577"/>
                      <a:pt x="453" y="585"/>
                      <a:pt x="438" y="591"/>
                    </a:cubicBezTo>
                    <a:cubicBezTo>
                      <a:pt x="438" y="427"/>
                      <a:pt x="438" y="482"/>
                      <a:pt x="438" y="427"/>
                    </a:cubicBezTo>
                    <a:cubicBezTo>
                      <a:pt x="394" y="427"/>
                      <a:pt x="409" y="427"/>
                      <a:pt x="394" y="427"/>
                    </a:cubicBezTo>
                    <a:cubicBezTo>
                      <a:pt x="394" y="605"/>
                      <a:pt x="394" y="546"/>
                      <a:pt x="394" y="605"/>
                    </a:cubicBezTo>
                    <a:cubicBezTo>
                      <a:pt x="373" y="610"/>
                      <a:pt x="351" y="613"/>
                      <a:pt x="329" y="613"/>
                    </a:cubicBezTo>
                    <a:cubicBezTo>
                      <a:pt x="306" y="613"/>
                      <a:pt x="284" y="610"/>
                      <a:pt x="263" y="605"/>
                    </a:cubicBezTo>
                    <a:cubicBezTo>
                      <a:pt x="263" y="427"/>
                      <a:pt x="263" y="486"/>
                      <a:pt x="263" y="427"/>
                    </a:cubicBezTo>
                    <a:cubicBezTo>
                      <a:pt x="219" y="427"/>
                      <a:pt x="234" y="427"/>
                      <a:pt x="219" y="427"/>
                    </a:cubicBezTo>
                    <a:cubicBezTo>
                      <a:pt x="219" y="591"/>
                      <a:pt x="219" y="536"/>
                      <a:pt x="219" y="591"/>
                    </a:cubicBezTo>
                    <a:cubicBezTo>
                      <a:pt x="204" y="585"/>
                      <a:pt x="189" y="577"/>
                      <a:pt x="175" y="568"/>
                    </a:cubicBezTo>
                    <a:cubicBezTo>
                      <a:pt x="175" y="449"/>
                      <a:pt x="175" y="489"/>
                      <a:pt x="175" y="449"/>
                    </a:cubicBezTo>
                    <a:cubicBezTo>
                      <a:pt x="175" y="400"/>
                      <a:pt x="215" y="361"/>
                      <a:pt x="263" y="361"/>
                    </a:cubicBezTo>
                    <a:cubicBezTo>
                      <a:pt x="394" y="361"/>
                      <a:pt x="351" y="361"/>
                      <a:pt x="394" y="361"/>
                    </a:cubicBezTo>
                    <a:cubicBezTo>
                      <a:pt x="442" y="361"/>
                      <a:pt x="482" y="400"/>
                      <a:pt x="482" y="449"/>
                    </a:cubicBezTo>
                    <a:cubicBezTo>
                      <a:pt x="482" y="489"/>
                      <a:pt x="482" y="528"/>
                      <a:pt x="482" y="568"/>
                    </a:cubicBezTo>
                    <a:close/>
                    <a:moveTo>
                      <a:pt x="241" y="208"/>
                    </a:moveTo>
                    <a:lnTo>
                      <a:pt x="241" y="208"/>
                    </a:lnTo>
                    <a:cubicBezTo>
                      <a:pt x="241" y="160"/>
                      <a:pt x="280" y="120"/>
                      <a:pt x="329" y="120"/>
                    </a:cubicBezTo>
                    <a:cubicBezTo>
                      <a:pt x="377" y="120"/>
                      <a:pt x="416" y="160"/>
                      <a:pt x="416" y="208"/>
                    </a:cubicBezTo>
                    <a:cubicBezTo>
                      <a:pt x="416" y="257"/>
                      <a:pt x="377" y="296"/>
                      <a:pt x="329" y="296"/>
                    </a:cubicBezTo>
                    <a:cubicBezTo>
                      <a:pt x="280" y="296"/>
                      <a:pt x="241" y="257"/>
                      <a:pt x="241" y="208"/>
                    </a:cubicBezTo>
                    <a:close/>
                    <a:moveTo>
                      <a:pt x="526" y="533"/>
                    </a:moveTo>
                    <a:lnTo>
                      <a:pt x="526" y="533"/>
                    </a:lnTo>
                    <a:cubicBezTo>
                      <a:pt x="526" y="449"/>
                      <a:pt x="526" y="477"/>
                      <a:pt x="526" y="449"/>
                    </a:cubicBezTo>
                    <a:cubicBezTo>
                      <a:pt x="526" y="378"/>
                      <a:pt x="470" y="321"/>
                      <a:pt x="400" y="318"/>
                    </a:cubicBezTo>
                    <a:cubicBezTo>
                      <a:pt x="436" y="294"/>
                      <a:pt x="460" y="254"/>
                      <a:pt x="460" y="208"/>
                    </a:cubicBezTo>
                    <a:cubicBezTo>
                      <a:pt x="460" y="136"/>
                      <a:pt x="401" y="76"/>
                      <a:pt x="329" y="76"/>
                    </a:cubicBezTo>
                    <a:cubicBezTo>
                      <a:pt x="256" y="76"/>
                      <a:pt x="197" y="136"/>
                      <a:pt x="197" y="208"/>
                    </a:cubicBezTo>
                    <a:cubicBezTo>
                      <a:pt x="197" y="254"/>
                      <a:pt x="221" y="294"/>
                      <a:pt x="257" y="318"/>
                    </a:cubicBezTo>
                    <a:cubicBezTo>
                      <a:pt x="187" y="321"/>
                      <a:pt x="131" y="378"/>
                      <a:pt x="131" y="449"/>
                    </a:cubicBezTo>
                    <a:cubicBezTo>
                      <a:pt x="131" y="533"/>
                      <a:pt x="131" y="505"/>
                      <a:pt x="131" y="533"/>
                    </a:cubicBezTo>
                    <a:cubicBezTo>
                      <a:pt x="78" y="482"/>
                      <a:pt x="44" y="409"/>
                      <a:pt x="44" y="328"/>
                    </a:cubicBezTo>
                    <a:cubicBezTo>
                      <a:pt x="44" y="171"/>
                      <a:pt x="172" y="44"/>
                      <a:pt x="329" y="44"/>
                    </a:cubicBezTo>
                    <a:cubicBezTo>
                      <a:pt x="486" y="44"/>
                      <a:pt x="613" y="171"/>
                      <a:pt x="613" y="328"/>
                    </a:cubicBezTo>
                    <a:cubicBezTo>
                      <a:pt x="613" y="409"/>
                      <a:pt x="579" y="482"/>
                      <a:pt x="526" y="533"/>
                    </a:cubicBezTo>
                    <a:close/>
                  </a:path>
                </a:pathLst>
              </a:custGeom>
              <a:solidFill>
                <a:srgbClr val="58595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2021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</p:grpSp>
      <p:sp>
        <p:nvSpPr>
          <p:cNvPr id="143" name="Стрелка вправо с вырезом 142"/>
          <p:cNvSpPr/>
          <p:nvPr/>
        </p:nvSpPr>
        <p:spPr>
          <a:xfrm rot="16200000">
            <a:off x="4544542" y="2950085"/>
            <a:ext cx="1158644" cy="592282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TextBox 143"/>
          <p:cNvSpPr txBox="1"/>
          <p:nvPr/>
        </p:nvSpPr>
        <p:spPr>
          <a:xfrm>
            <a:off x="6422308" y="997194"/>
            <a:ext cx="2036318" cy="122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Предоставление меры социальной поддержки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1162868" y="997194"/>
            <a:ext cx="2247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0070C0"/>
                </a:solidFill>
              </a:rPr>
              <a:t>Согласие на получение мер социальной поддержки 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5506594" y="2890687"/>
            <a:ext cx="2247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0070C0"/>
                </a:solidFill>
              </a:rPr>
              <a:t>Получение сведений о гражданине (ЕГР ЗАГС, ФНС, ПФ, ФСС, РОСРЕЕСТР, МВД, …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0" y="67344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циальное казначейство</a:t>
            </a:r>
          </a:p>
        </p:txBody>
      </p:sp>
    </p:spTree>
    <p:extLst>
      <p:ext uri="{BB962C8B-B14F-4D97-AF65-F5344CB8AC3E}">
        <p14:creationId xmlns:p14="http://schemas.microsoft.com/office/powerpoint/2010/main" val="15323096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736355" y="6466171"/>
            <a:ext cx="381000" cy="366713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z="1600" smtClean="0">
                <a:latin typeface="Times New Roman" pitchFamily="18" charset="0"/>
                <a:cs typeface="Times New Roman" pitchFamily="18" charset="0"/>
              </a:rPr>
              <a:pPr/>
              <a:t>8</a:t>
            </a:fld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81488" y="2924944"/>
            <a:ext cx="54474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ea typeface="Roboto" panose="02000000000000000000" pitchFamily="2" charset="0"/>
                <a:cs typeface="Times New Roman" panose="02020603050405020304" pitchFamily="18" charset="0"/>
              </a:rPr>
              <a:t>Благодарю за внимание!</a:t>
            </a:r>
          </a:p>
        </p:txBody>
      </p:sp>
      <p:pic>
        <p:nvPicPr>
          <p:cNvPr id="4" name="chart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88640"/>
            <a:ext cx="999133" cy="738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355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3H5gHIukqbNWC4SaM8S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37J13.h0KBryzHrxDl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cCjTDfJk24EENavqP3l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UzqsdQkq1wegI.1Yb1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sTqVnaU.B7VJfzpkC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dEri.vUU2M2CdaVfUqp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vkN3GgEaCW.QH.peE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1DiPZjNEieqZ1W.3NVm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dEri.vUU2M2CdaVfUq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JlulEai0.ZYBF9dVupM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rJF2bMv0W0eznx20it4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JlulEai0.ZYBF9dVupM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6o9IT56ku_FkL4dF.r3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_PDqiFtUyubBVf.euKe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rJF2bMv0W0eznx20it4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hKFOA7CkO7hyODLfTI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.2TbpQpUKIBuyyy60_y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QHDWmF6kCzFkyyJ38xQ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8oUC3z8kyTU_3HBsvBO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PqLRSWEWr95tVN0avk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2q85XNzkuWIkFxaUVJg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mVJzMNXkC_dbaE6rDrF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6o9IT56ku_FkL4dF.r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_PDqiFtUyubBVf.euK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hKFOA7CkO7hyODLfTI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3H5gHIukqbNWC4SaM8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.2TbpQpUKIBuyyy60_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QHDWmF6kCzFkyyJ38x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8oUC3z8kyTU_3HBsvB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PqLRSWEWr95tVN0av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2q85XNzkuWIkFxaUVJ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mVJzMNXkC_dbaE6rDr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37J13.h0KBryzHrxDl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cCjTDfJk24EENavqP3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UzqsdQkq1wegI.1Yb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sTqVnaU.B7VJfzpkC7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vkN3GgEaCW.QH.peE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1DiPZjNEieqZ1W.3NVm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1_Custom Design">
  <a:themeElements>
    <a:clrScheme name="6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0C0"/>
      </a:accent1>
      <a:accent2>
        <a:srgbClr val="00B0F0"/>
      </a:accent2>
      <a:accent3>
        <a:srgbClr val="008DC3"/>
      </a:accent3>
      <a:accent4>
        <a:srgbClr val="007EAE"/>
      </a:accent4>
      <a:accent5>
        <a:srgbClr val="23A1FF"/>
      </a:accent5>
      <a:accent6>
        <a:srgbClr val="2FA6FF"/>
      </a:accent6>
      <a:hlink>
        <a:srgbClr val="005390"/>
      </a:hlink>
      <a:folHlink>
        <a:srgbClr val="2DC7FF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Strategy Partners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none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3_Strategy Partners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none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6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0C0"/>
      </a:accent1>
      <a:accent2>
        <a:srgbClr val="00B0F0"/>
      </a:accent2>
      <a:accent3>
        <a:srgbClr val="008DC3"/>
      </a:accent3>
      <a:accent4>
        <a:srgbClr val="007EAE"/>
      </a:accent4>
      <a:accent5>
        <a:srgbClr val="23A1FF"/>
      </a:accent5>
      <a:accent6>
        <a:srgbClr val="2FA6FF"/>
      </a:accent6>
      <a:hlink>
        <a:srgbClr val="005390"/>
      </a:hlink>
      <a:folHlink>
        <a:srgbClr val="2DC7FF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3_Custom Design">
  <a:themeElements>
    <a:clrScheme name="6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0C0"/>
      </a:accent1>
      <a:accent2>
        <a:srgbClr val="00B0F0"/>
      </a:accent2>
      <a:accent3>
        <a:srgbClr val="008DC3"/>
      </a:accent3>
      <a:accent4>
        <a:srgbClr val="007EAE"/>
      </a:accent4>
      <a:accent5>
        <a:srgbClr val="23A1FF"/>
      </a:accent5>
      <a:accent6>
        <a:srgbClr val="2FA6FF"/>
      </a:accent6>
      <a:hlink>
        <a:srgbClr val="005390"/>
      </a:hlink>
      <a:folHlink>
        <a:srgbClr val="2DC7FF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1__ШАБЛОН_МЭР_СО - копия">
  <a:themeElements>
    <a:clrScheme name="_ШАБЛОН_МЭР_СО - копия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_ШАБЛОН_МЭР_СО - копия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_ШАБЛОН_МЭР_СО - копи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4_Custom Design">
  <a:themeElements>
    <a:clrScheme name="6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0C0"/>
      </a:accent1>
      <a:accent2>
        <a:srgbClr val="00B0F0"/>
      </a:accent2>
      <a:accent3>
        <a:srgbClr val="008DC3"/>
      </a:accent3>
      <a:accent4>
        <a:srgbClr val="007EAE"/>
      </a:accent4>
      <a:accent5>
        <a:srgbClr val="23A1FF"/>
      </a:accent5>
      <a:accent6>
        <a:srgbClr val="2FA6FF"/>
      </a:accent6>
      <a:hlink>
        <a:srgbClr val="005390"/>
      </a:hlink>
      <a:folHlink>
        <a:srgbClr val="2DC7FF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5_Custom Design">
  <a:themeElements>
    <a:clrScheme name="6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0C0"/>
      </a:accent1>
      <a:accent2>
        <a:srgbClr val="00B0F0"/>
      </a:accent2>
      <a:accent3>
        <a:srgbClr val="008DC3"/>
      </a:accent3>
      <a:accent4>
        <a:srgbClr val="007EAE"/>
      </a:accent4>
      <a:accent5>
        <a:srgbClr val="23A1FF"/>
      </a:accent5>
      <a:accent6>
        <a:srgbClr val="2FA6FF"/>
      </a:accent6>
      <a:hlink>
        <a:srgbClr val="005390"/>
      </a:hlink>
      <a:folHlink>
        <a:srgbClr val="2DC7FF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6_Custom Design">
  <a:themeElements>
    <a:clrScheme name="6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0C0"/>
      </a:accent1>
      <a:accent2>
        <a:srgbClr val="00B0F0"/>
      </a:accent2>
      <a:accent3>
        <a:srgbClr val="008DC3"/>
      </a:accent3>
      <a:accent4>
        <a:srgbClr val="007EAE"/>
      </a:accent4>
      <a:accent5>
        <a:srgbClr val="23A1FF"/>
      </a:accent5>
      <a:accent6>
        <a:srgbClr val="2FA6FF"/>
      </a:accent6>
      <a:hlink>
        <a:srgbClr val="005390"/>
      </a:hlink>
      <a:folHlink>
        <a:srgbClr val="2DC7FF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Strategy Partners">
    <a:dk1>
      <a:srgbClr val="000000"/>
    </a:dk1>
    <a:lt1>
      <a:srgbClr val="FFFFFF"/>
    </a:lt1>
    <a:dk2>
      <a:srgbClr val="7A1600"/>
    </a:dk2>
    <a:lt2>
      <a:srgbClr val="5F6062"/>
    </a:lt2>
    <a:accent1>
      <a:srgbClr val="DDDDDD"/>
    </a:accent1>
    <a:accent2>
      <a:srgbClr val="C0C0C0"/>
    </a:accent2>
    <a:accent3>
      <a:srgbClr val="969696"/>
    </a:accent3>
    <a:accent4>
      <a:srgbClr val="777777"/>
    </a:accent4>
    <a:accent5>
      <a:srgbClr val="5F5F5F"/>
    </a:accent5>
    <a:accent6>
      <a:srgbClr val="333333"/>
    </a:accent6>
    <a:hlink>
      <a:srgbClr val="969696"/>
    </a:hlink>
    <a:folHlink>
      <a:srgbClr val="777777"/>
    </a:folHlink>
  </a:clrScheme>
</a:themeOverride>
</file>

<file path=ppt/theme/themeOverride2.xml><?xml version="1.0" encoding="utf-8"?>
<a:themeOverride xmlns:a="http://schemas.openxmlformats.org/drawingml/2006/main">
  <a:clrScheme name="Strategy Partners">
    <a:dk1>
      <a:srgbClr val="000000"/>
    </a:dk1>
    <a:lt1>
      <a:srgbClr val="FFFFFF"/>
    </a:lt1>
    <a:dk2>
      <a:srgbClr val="7A1600"/>
    </a:dk2>
    <a:lt2>
      <a:srgbClr val="5F6062"/>
    </a:lt2>
    <a:accent1>
      <a:srgbClr val="DDDDDD"/>
    </a:accent1>
    <a:accent2>
      <a:srgbClr val="C0C0C0"/>
    </a:accent2>
    <a:accent3>
      <a:srgbClr val="969696"/>
    </a:accent3>
    <a:accent4>
      <a:srgbClr val="777777"/>
    </a:accent4>
    <a:accent5>
      <a:srgbClr val="5F5F5F"/>
    </a:accent5>
    <a:accent6>
      <a:srgbClr val="333333"/>
    </a:accent6>
    <a:hlink>
      <a:srgbClr val="969696"/>
    </a:hlink>
    <a:folHlink>
      <a:srgbClr val="77777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687</TotalTime>
  <Words>581</Words>
  <Application>Microsoft Office PowerPoint</Application>
  <PresentationFormat>Экран (4:3)</PresentationFormat>
  <Paragraphs>186</Paragraphs>
  <Slides>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9" baseType="lpstr">
      <vt:lpstr>1_Custom Design</vt:lpstr>
      <vt:lpstr>2_Strategy Partners</vt:lpstr>
      <vt:lpstr>3_Strategy Partners</vt:lpstr>
      <vt:lpstr>2_Custom Design</vt:lpstr>
      <vt:lpstr>3_Custom Design</vt:lpstr>
      <vt:lpstr>1__ШАБЛОН_МЭР_СО - копия</vt:lpstr>
      <vt:lpstr>4_Custom Design</vt:lpstr>
      <vt:lpstr>5_Custom Design</vt:lpstr>
      <vt:lpstr>6_Custom Design</vt:lpstr>
      <vt:lpstr>Тема Office</vt:lpstr>
      <vt:lpstr>think-cell Slide</vt:lpstr>
      <vt:lpstr>Реализация Послания Президента Российской Федерации Федеральному Собранию Российской Феде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ЗАИМОДЕЙСТВИЕ С СОНКО  В РАМКАХ РЕШЕНИЯ СОЦИАЛЬНЫХ ЗАДАЧ, СВЯЗАННЫХ  СО СТАРШИМ ПОКОЛЕНИЕМ</dc:title>
  <dc:creator>НекорысноваЮ.А.</dc:creator>
  <cp:lastModifiedBy>Пользователь Windows</cp:lastModifiedBy>
  <cp:revision>908</cp:revision>
  <cp:lastPrinted>2021-04-22T13:16:03Z</cp:lastPrinted>
  <dcterms:created xsi:type="dcterms:W3CDTF">2020-01-08T09:02:44Z</dcterms:created>
  <dcterms:modified xsi:type="dcterms:W3CDTF">2021-04-22T13:46:55Z</dcterms:modified>
</cp:coreProperties>
</file>